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lb" ContentType="model/gltf.binary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3"/>
    <p:sldMasterId id="2147484081" r:id="rId4"/>
    <p:sldMasterId id="2147484120" r:id="rId5"/>
  </p:sldMasterIdLst>
  <p:notesMasterIdLst>
    <p:notesMasterId r:id="rId25"/>
  </p:notesMasterIdLst>
  <p:sldIdLst>
    <p:sldId id="293" r:id="rId6"/>
    <p:sldId id="475" r:id="rId7"/>
    <p:sldId id="476" r:id="rId8"/>
    <p:sldId id="480" r:id="rId9"/>
    <p:sldId id="477" r:id="rId10"/>
    <p:sldId id="478" r:id="rId11"/>
    <p:sldId id="479" r:id="rId12"/>
    <p:sldId id="464" r:id="rId13"/>
    <p:sldId id="481" r:id="rId14"/>
    <p:sldId id="466" r:id="rId15"/>
    <p:sldId id="470" r:id="rId16"/>
    <p:sldId id="482" r:id="rId17"/>
    <p:sldId id="485" r:id="rId18"/>
    <p:sldId id="461" r:id="rId19"/>
    <p:sldId id="483" r:id="rId20"/>
    <p:sldId id="486" r:id="rId21"/>
    <p:sldId id="484" r:id="rId22"/>
    <p:sldId id="487" r:id="rId23"/>
    <p:sldId id="490" r:id="rId24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000"/>
    <a:srgbClr val="004165"/>
    <a:srgbClr val="FFF9CC"/>
    <a:srgbClr val="D8D8D8"/>
    <a:srgbClr val="008542"/>
    <a:srgbClr val="FDC82F"/>
    <a:srgbClr val="111111"/>
    <a:srgbClr val="FDCB3C"/>
    <a:srgbClr val="BDBDBD"/>
    <a:srgbClr val="F9F9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E009969-ED2D-4784-B359-EDBDDDA22115}" v="4" dt="2024-07-11T12:09:20.761"/>
  </p1510:revLst>
</p1510:revInfo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85" autoAdjust="0"/>
    <p:restoredTop sz="93792" autoAdjust="0"/>
  </p:normalViewPr>
  <p:slideViewPr>
    <p:cSldViewPr snapToGrid="0">
      <p:cViewPr varScale="1">
        <p:scale>
          <a:sx n="103" d="100"/>
          <a:sy n="103" d="100"/>
        </p:scale>
        <p:origin x="138" y="600"/>
      </p:cViewPr>
      <p:guideLst>
        <p:guide orient="horz" pos="2183"/>
        <p:guide pos="381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77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llington Carlos da Rosa Nascimento" userId="c1f7d173-7529-4246-8099-ceb16ea317c6" providerId="ADAL" clId="{AE009969-ED2D-4784-B359-EDBDDDA22115}"/>
    <pc:docChg chg="modSld">
      <pc:chgData name="Wellington Carlos da Rosa Nascimento" userId="c1f7d173-7529-4246-8099-ceb16ea317c6" providerId="ADAL" clId="{AE009969-ED2D-4784-B359-EDBDDDA22115}" dt="2024-07-11T12:09:26.381" v="27" actId="1037"/>
      <pc:docMkLst>
        <pc:docMk/>
      </pc:docMkLst>
      <pc:sldChg chg="addSp modSp mod">
        <pc:chgData name="Wellington Carlos da Rosa Nascimento" userId="c1f7d173-7529-4246-8099-ceb16ea317c6" providerId="ADAL" clId="{AE009969-ED2D-4784-B359-EDBDDDA22115}" dt="2024-07-11T12:09:26.381" v="27" actId="1037"/>
        <pc:sldMkLst>
          <pc:docMk/>
          <pc:sldMk cId="398645881" sldId="293"/>
        </pc:sldMkLst>
        <pc:spChg chg="mod">
          <ac:chgData name="Wellington Carlos da Rosa Nascimento" userId="c1f7d173-7529-4246-8099-ceb16ea317c6" providerId="ADAL" clId="{AE009969-ED2D-4784-B359-EDBDDDA22115}" dt="2024-07-11T12:09:26.381" v="27" actId="1037"/>
          <ac:spMkLst>
            <pc:docMk/>
            <pc:sldMk cId="398645881" sldId="293"/>
            <ac:spMk id="5" creationId="{637F8449-94D2-00E7-5975-26464419A58D}"/>
          </ac:spMkLst>
        </pc:spChg>
        <pc:spChg chg="mod">
          <ac:chgData name="Wellington Carlos da Rosa Nascimento" userId="c1f7d173-7529-4246-8099-ceb16ea317c6" providerId="ADAL" clId="{AE009969-ED2D-4784-B359-EDBDDDA22115}" dt="2024-07-11T12:09:06.153" v="7" actId="1035"/>
          <ac:spMkLst>
            <pc:docMk/>
            <pc:sldMk cId="398645881" sldId="293"/>
            <ac:spMk id="46" creationId="{00000000-0000-0000-0000-000000000000}"/>
          </ac:spMkLst>
        </pc:spChg>
        <pc:picChg chg="add mod">
          <ac:chgData name="Wellington Carlos da Rosa Nascimento" userId="c1f7d173-7529-4246-8099-ceb16ea317c6" providerId="ADAL" clId="{AE009969-ED2D-4784-B359-EDBDDDA22115}" dt="2024-07-11T12:09:20.761" v="11" actId="1076"/>
          <ac:picMkLst>
            <pc:docMk/>
            <pc:sldMk cId="398645881" sldId="293"/>
            <ac:picMk id="15362" creationId="{86D5A0D2-C19B-8B87-0F5B-FAAC0E02101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19E36-95CB-4AB0-AEAE-52E2F5931605}" type="datetimeFigureOut">
              <a:rPr lang="pt-BR" smtClean="0"/>
              <a:t>09/07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99723C-4ACC-4EE9-9DA9-F1592C8B027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305666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62444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3AC470-54B8-788D-4E78-BE18520142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48D3C126-E1DB-E8C4-8B98-FEE5633D1C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5DE3C575-67F3-DC0E-335F-EA93C8B754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0E94CEA-115C-5FA8-0A16-501D5FDC06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28538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3AC470-54B8-788D-4E78-BE18520142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48D3C126-E1DB-E8C4-8B98-FEE5633D1C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5DE3C575-67F3-DC0E-335F-EA93C8B754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0E94CEA-115C-5FA8-0A16-501D5FDC06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39011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E18553-1773-F2F5-5F6F-61639F8039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60E47299-FFAF-7DEF-E88E-1FA3373A65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A7267543-0A84-049D-7CB2-C1F56A3209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6981E44-731D-FC86-3876-F6DBA3C2D2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82957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9CFF0D-38DC-0727-7B87-138804B5B4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EA50BD2D-82DB-3CF8-FC95-4DE73FD5E7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14111F27-EBBB-04D3-4CB1-4DF265092C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6BB0442-5F79-101C-47BB-4263091391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48738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3AC470-54B8-788D-4E78-BE18520142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48D3C126-E1DB-E8C4-8B98-FEE5633D1C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5DE3C575-67F3-DC0E-335F-EA93C8B754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0E94CEA-115C-5FA8-0A16-501D5FDC06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50910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885779-5F39-149E-277E-A1E6A701C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3D725287-8891-252A-4475-926654CA94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6BF03197-4A7A-B183-E618-16332B6888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F47FFC6-552C-83D2-81B1-28151F4A45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87558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2AC33-95A7-DA9D-5F52-B9158277CD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E8E18567-710C-C59E-B103-2FEAA1E33A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AB30D07F-113D-379A-CF82-42AFC67129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0B98A18-6EBB-CFF5-6F82-FA19711B9A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17211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B50848-BDC1-384B-A874-8BD2F310E6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E6363567-08D0-077B-0432-8EEF119942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A424FCFF-7CC7-1F2E-A63A-1B7776EBBA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6ACAF6D-92A3-FC07-EECD-CD70C37E28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22895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010C7F-E127-E765-3552-FFD1FCF754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8616F895-4A40-614C-0A44-33AFC6DF43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5C86BBD6-BA7B-4DDB-6DD9-85005DA7D1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61D15F6-CB49-ACC6-B9C4-2A1C0B7F28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472526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A80292-A702-5756-B5B1-69DEA102EB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46E31C69-0A3E-DEF9-2587-9B7BC3D280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9E67FBBE-2021-69D8-5C46-BB181EF5B2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4CDB7DC-7020-2BEA-A2CA-1E7B9ADC1A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2664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F0D93A-7FE0-94BD-40D8-0CB0B63576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65EE88A7-B456-C8CB-D4A3-7D1A72D71A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1A012190-661B-8309-E003-87410F7A8E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A90E343-4510-0103-B552-4BBE7E82AD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01923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24442-6021-9676-A36D-54AC70FE3D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053C1218-C8DE-602D-88B0-63F74EEDFB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8B04EDD6-3EA8-015A-1337-C9F583F4FC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2A782BEE-4412-AEA5-FC7A-B1705A87EC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99341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0D2C0D-F54F-9BD6-B382-39193A8658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2FA4073E-29F7-BE66-910D-8FB10ECB5A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EFD2862C-F03B-54A7-AE6A-3D00CC6CD6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295813B2-6AE6-7D82-D98E-77D0691EE0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02475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6BB60F-4B02-C78B-3E72-D4BEB4D587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BA63B124-B6E2-9232-064A-7F9C71695A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4ADC6522-1F31-F71D-BDAF-7B5010BEB1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225FD46A-E302-AB53-35CD-ECD72B24AD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56124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5303AB-C44D-2A96-0906-A21641E807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158221AE-B14E-81CA-D215-D036396139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803773A0-B596-25FC-1D4C-B85E331D68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AF2166AF-F235-E193-AEA9-50D6085297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34352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175A02-7C48-CEF1-AE4B-BFC87F2AB3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907199C2-1A2E-125F-B43E-4DE2B0B965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FE8F3B69-CDDD-5198-C8D1-90F6A53A64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4C98978-5BB4-7B57-C45B-BAB936842EE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26534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3AC470-54B8-788D-4E78-BE18520142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48D3C126-E1DB-E8C4-8B98-FEE5633D1C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5DE3C575-67F3-DC0E-335F-EA93C8B754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0E94CEA-115C-5FA8-0A16-501D5FDC06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81533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4C5392-9BD7-8C60-1FA5-1044E117B7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BE81B955-1461-9714-212D-387EAF53E3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31E177B1-92F0-957F-C713-C039CE573C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23D0C65-120A-FC99-618D-341D648EC3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35520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svg"/><Relationship Id="rId12" Type="http://schemas.openxmlformats.org/officeDocument/2006/relationships/image" Target="../media/image14.jpeg"/><Relationship Id="rId2" Type="http://schemas.microsoft.com/office/2017/06/relationships/model3d" Target="../media/model3d1.glb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5.png"/><Relationship Id="rId7" Type="http://schemas.openxmlformats.org/officeDocument/2006/relationships/image" Target="../media/image9.svg"/><Relationship Id="rId12" Type="http://schemas.openxmlformats.org/officeDocument/2006/relationships/image" Target="../media/image14.jpeg"/><Relationship Id="rId2" Type="http://schemas.microsoft.com/office/2017/06/relationships/model3d" Target="../media/model3d1.glb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5.png"/><Relationship Id="rId7" Type="http://schemas.openxmlformats.org/officeDocument/2006/relationships/image" Target="../media/image9.svg"/><Relationship Id="rId12" Type="http://schemas.openxmlformats.org/officeDocument/2006/relationships/image" Target="../media/image14.jpeg"/><Relationship Id="rId2" Type="http://schemas.microsoft.com/office/2017/06/relationships/model3d" Target="../media/model3d1.glb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NULL"/><Relationship Id="rId4" Type="http://schemas.openxmlformats.org/officeDocument/2006/relationships/oleObject" Target="../embeddings/oleObject1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DD3D0DF2-DB47-41AC-BC5E-E79F217077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DD3D0DF2-DB47-41AC-BC5E-E79F21707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03FE36DC-14E4-484E-89F6-C3644BB8AD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6000" b="0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8E6D9AA-5B2D-4208-9BAF-0807D23802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E639138-A9F1-46C4-8AB7-8144485702B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1461C8A-A463-45B8-9471-4E0AD46537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9627D55-7064-4DBF-A7E8-24E2A2471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862739E-9215-4625-A976-F913E9D907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CB1C7-BC24-4B1A-8401-3570DFE411D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850928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316787F4-06B5-4DFE-9A98-D5BD62CE34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316787F4-06B5-4DFE-9A98-D5BD62CE34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AAAE3DD4-E9FA-40DC-9121-1ED0731079B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0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9597E5C-318C-47CF-9DBD-B1A2010650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D1952E8A-E3DD-4DF4-8244-13E78F46E45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B3981D-384A-4264-A04D-54E6E1DAE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C303712-6156-4F58-864E-DA23B7892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46B047F-E324-4E51-810C-6B605D384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CB1C7-BC24-4B1A-8401-3570DFE411D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504293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9682DCAB-7A3D-48F8-BA7F-E989B1D02A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9682DCAB-7A3D-48F8-BA7F-E989B1D02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19ADCD3A-FDEA-4439-948E-A3C6331AEA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0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A421517A-F21A-4F12-8F0D-1320581DE53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7E4375EE-8DEB-412B-92AE-5DB8E6AC8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1B9DB75-863D-4473-B814-A07C6190C2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65FC3A-E726-4E51-B40D-14E3E0FF3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D0A5D5E-BCFF-4577-AD8B-1DE7ADCC87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CB1C7-BC24-4B1A-8401-3570DFE411D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300658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5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270" imgH="270" progId="TCLayout.ActiveDocument.1">
                  <p:embed/>
                </p:oleObj>
              </mc:Choice>
              <mc:Fallback>
                <p:oleObj name="Slide do think-cell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5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9448800" y="6493510"/>
            <a:ext cx="2743200" cy="365125"/>
          </a:xfrm>
        </p:spPr>
        <p:txBody>
          <a:bodyPr/>
          <a:lstStyle/>
          <a:p>
            <a:fld id="{DCDCB1C7-BC24-4B1A-8401-3570DFE411D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2319390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0"/>
          </p:nvPr>
        </p:nvSpPr>
        <p:spPr>
          <a:xfrm>
            <a:off x="215900" y="241300"/>
            <a:ext cx="11753850" cy="4285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1"/>
          </p:nvPr>
        </p:nvSpPr>
        <p:spPr>
          <a:xfrm>
            <a:off x="215899" y="616248"/>
            <a:ext cx="11757025" cy="2981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Número de Slide 2"/>
          <p:cNvSpPr>
            <a:spLocks noGrp="1"/>
          </p:cNvSpPr>
          <p:nvPr>
            <p:ph type="sldNum" sz="quarter" idx="12"/>
          </p:nvPr>
        </p:nvSpPr>
        <p:spPr>
          <a:xfrm>
            <a:off x="9448800" y="6493510"/>
            <a:ext cx="2743200" cy="365125"/>
          </a:xfrm>
        </p:spPr>
        <p:txBody>
          <a:bodyPr/>
          <a:lstStyle/>
          <a:p>
            <a:fld id="{DCDCB1C7-BC24-4B1A-8401-3570DFE411D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02503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conteúdo_Mar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9448800" y="6493510"/>
            <a:ext cx="2743200" cy="365125"/>
          </a:xfrm>
        </p:spPr>
        <p:txBody>
          <a:bodyPr/>
          <a:lstStyle/>
          <a:p>
            <a:fld id="{DCDCB1C7-BC24-4B1A-8401-3570DFE411D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23675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co_sem_mar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04207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 userDrawn="1"/>
        </p:nvSpPr>
        <p:spPr>
          <a:xfrm>
            <a:off x="0" y="6596390"/>
            <a:ext cx="1219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9DDD1E2-7CDF-42F4-ACB2-E0D5DB16924C}" type="slidenum">
              <a:rPr lang="pt-BR" sz="1000" b="1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eS"/>
              </a:rPr>
              <a:pPr algn="r"/>
              <a:t>‹nº›</a:t>
            </a:fld>
            <a:endParaRPr lang="pt-BR" sz="1000" b="1">
              <a:solidFill>
                <a:schemeClr val="tx1">
                  <a:lumMod val="65000"/>
                  <a:lumOff val="35000"/>
                </a:schemeClr>
              </a:solidFill>
              <a:latin typeface="Trebuchet MeS"/>
            </a:endParaRPr>
          </a:p>
        </p:txBody>
      </p:sp>
    </p:spTree>
    <p:extLst>
      <p:ext uri="{BB962C8B-B14F-4D97-AF65-F5344CB8AC3E}">
        <p14:creationId xmlns:p14="http://schemas.microsoft.com/office/powerpoint/2010/main" val="36678197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rma Livre: Forma 26">
            <a:extLst>
              <a:ext uri="{FF2B5EF4-FFF2-40B4-BE49-F238E27FC236}">
                <a16:creationId xmlns:a16="http://schemas.microsoft.com/office/drawing/2014/main" id="{F8514690-00D7-4B2F-A36C-40A6DE479167}"/>
              </a:ext>
            </a:extLst>
          </p:cNvPr>
          <p:cNvSpPr/>
          <p:nvPr userDrawn="1"/>
        </p:nvSpPr>
        <p:spPr>
          <a:xfrm>
            <a:off x="0" y="6379648"/>
            <a:ext cx="12192162" cy="478353"/>
          </a:xfrm>
          <a:custGeom>
            <a:avLst/>
            <a:gdLst>
              <a:gd name="connsiteX0" fmla="*/ 0 w 12192162"/>
              <a:gd name="connsiteY0" fmla="*/ 0 h 478353"/>
              <a:gd name="connsiteX1" fmla="*/ 897812 w 12192162"/>
              <a:gd name="connsiteY1" fmla="*/ 1844 h 478353"/>
              <a:gd name="connsiteX2" fmla="*/ 1389496 w 12192162"/>
              <a:gd name="connsiteY2" fmla="*/ 3614 h 478353"/>
              <a:gd name="connsiteX3" fmla="*/ 3218751 w 12192162"/>
              <a:gd name="connsiteY3" fmla="*/ 218417 h 478353"/>
              <a:gd name="connsiteX4" fmla="*/ 12192162 w 12192162"/>
              <a:gd name="connsiteY4" fmla="*/ 224407 h 478353"/>
              <a:gd name="connsiteX5" fmla="*/ 12191999 w 12192162"/>
              <a:gd name="connsiteY5" fmla="*/ 478353 h 478353"/>
              <a:gd name="connsiteX6" fmla="*/ 0 w 12192162"/>
              <a:gd name="connsiteY6" fmla="*/ 478353 h 4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162" h="478353">
                <a:moveTo>
                  <a:pt x="0" y="0"/>
                </a:moveTo>
                <a:lnTo>
                  <a:pt x="897812" y="1844"/>
                </a:lnTo>
                <a:lnTo>
                  <a:pt x="1389496" y="3614"/>
                </a:lnTo>
                <a:cubicBezTo>
                  <a:pt x="2155312" y="11961"/>
                  <a:pt x="1782436" y="218903"/>
                  <a:pt x="3218751" y="218417"/>
                </a:cubicBezTo>
                <a:lnTo>
                  <a:pt x="12192162" y="224407"/>
                </a:lnTo>
                <a:cubicBezTo>
                  <a:pt x="12192108" y="309056"/>
                  <a:pt x="12192053" y="393704"/>
                  <a:pt x="12191999" y="478353"/>
                </a:cubicBezTo>
                <a:lnTo>
                  <a:pt x="0" y="47835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73" name="Retângulo 4">
            <a:extLst>
              <a:ext uri="{FF2B5EF4-FFF2-40B4-BE49-F238E27FC236}">
                <a16:creationId xmlns:a16="http://schemas.microsoft.com/office/drawing/2014/main" id="{4CA31EBD-D983-0D40-99CA-101EB48A6E6D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4" name="Retângulo 5">
            <a:extLst>
              <a:ext uri="{FF2B5EF4-FFF2-40B4-BE49-F238E27FC236}">
                <a16:creationId xmlns:a16="http://schemas.microsoft.com/office/drawing/2014/main" id="{29D49441-9231-A442-8561-2384BADE4378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5" name="Retângulo 6">
            <a:extLst>
              <a:ext uri="{FF2B5EF4-FFF2-40B4-BE49-F238E27FC236}">
                <a16:creationId xmlns:a16="http://schemas.microsoft.com/office/drawing/2014/main" id="{F7640527-FE94-5349-811E-A2E910A8136C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6" name="Retângulo 7">
            <a:extLst>
              <a:ext uri="{FF2B5EF4-FFF2-40B4-BE49-F238E27FC236}">
                <a16:creationId xmlns:a16="http://schemas.microsoft.com/office/drawing/2014/main" id="{3B638C98-8153-084F-BC91-FF9A132098AF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7" name="Retângulo 8">
            <a:extLst>
              <a:ext uri="{FF2B5EF4-FFF2-40B4-BE49-F238E27FC236}">
                <a16:creationId xmlns:a16="http://schemas.microsoft.com/office/drawing/2014/main" id="{6884A18B-D2C7-6240-8842-51A144CF341C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8" name="Retângulo 9">
            <a:extLst>
              <a:ext uri="{FF2B5EF4-FFF2-40B4-BE49-F238E27FC236}">
                <a16:creationId xmlns:a16="http://schemas.microsoft.com/office/drawing/2014/main" id="{24C46CAB-AC79-FB44-9FE5-10BE6CD36186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9" name="Retângulo 10">
            <a:extLst>
              <a:ext uri="{FF2B5EF4-FFF2-40B4-BE49-F238E27FC236}">
                <a16:creationId xmlns:a16="http://schemas.microsoft.com/office/drawing/2014/main" id="{A90F9425-5A51-3B4F-8146-65B58B0D7858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0" name="Retângulo 11">
            <a:extLst>
              <a:ext uri="{FF2B5EF4-FFF2-40B4-BE49-F238E27FC236}">
                <a16:creationId xmlns:a16="http://schemas.microsoft.com/office/drawing/2014/main" id="{206BCEC6-DDEC-3A4A-8632-AE5121D85535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1" name="Retângulo 12">
            <a:extLst>
              <a:ext uri="{FF2B5EF4-FFF2-40B4-BE49-F238E27FC236}">
                <a16:creationId xmlns:a16="http://schemas.microsoft.com/office/drawing/2014/main" id="{2D82E554-646B-AC40-92DB-034DC637D8B8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2" name="Retângulo 13">
            <a:extLst>
              <a:ext uri="{FF2B5EF4-FFF2-40B4-BE49-F238E27FC236}">
                <a16:creationId xmlns:a16="http://schemas.microsoft.com/office/drawing/2014/main" id="{4DC6A1B2-4201-9E4C-87B2-C5F15A8F3ED3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3" name="Retângulo 14">
            <a:extLst>
              <a:ext uri="{FF2B5EF4-FFF2-40B4-BE49-F238E27FC236}">
                <a16:creationId xmlns:a16="http://schemas.microsoft.com/office/drawing/2014/main" id="{724AB98E-4D47-B647-A7F8-0F4CB9AB3982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grpSp>
        <p:nvGrpSpPr>
          <p:cNvPr id="85" name="Agrupar 23">
            <a:extLst>
              <a:ext uri="{FF2B5EF4-FFF2-40B4-BE49-F238E27FC236}">
                <a16:creationId xmlns:a16="http://schemas.microsoft.com/office/drawing/2014/main" id="{BCC86B30-B864-644F-86E9-2CFAEEF4ABD1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86" name="Freeform 25">
              <a:extLst>
                <a:ext uri="{FF2B5EF4-FFF2-40B4-BE49-F238E27FC236}">
                  <a16:creationId xmlns:a16="http://schemas.microsoft.com/office/drawing/2014/main" id="{496BD72D-3597-E44C-80B1-6951BA663D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7" name="Freeform 26">
              <a:extLst>
                <a:ext uri="{FF2B5EF4-FFF2-40B4-BE49-F238E27FC236}">
                  <a16:creationId xmlns:a16="http://schemas.microsoft.com/office/drawing/2014/main" id="{55047C3C-36EB-6347-AA6B-9A13F136F3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8" name="Oval 27">
              <a:extLst>
                <a:ext uri="{FF2B5EF4-FFF2-40B4-BE49-F238E27FC236}">
                  <a16:creationId xmlns:a16="http://schemas.microsoft.com/office/drawing/2014/main" id="{DBE74293-5892-5444-BE81-DB43C760EB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9" name="Freeform 14">
              <a:extLst>
                <a:ext uri="{FF2B5EF4-FFF2-40B4-BE49-F238E27FC236}">
                  <a16:creationId xmlns:a16="http://schemas.microsoft.com/office/drawing/2014/main" id="{CE800642-7001-594F-BC78-7ED00ADBD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90" name="Freeform 13">
              <a:extLst>
                <a:ext uri="{FF2B5EF4-FFF2-40B4-BE49-F238E27FC236}">
                  <a16:creationId xmlns:a16="http://schemas.microsoft.com/office/drawing/2014/main" id="{9A16EB83-A922-0443-9C4F-3F94AF7C49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8BE4D1BD-D2B3-46F5-9C5C-36461E44CF96}"/>
              </a:ext>
            </a:extLst>
          </p:cNvPr>
          <p:cNvSpPr/>
          <p:nvPr userDrawn="1"/>
        </p:nvSpPr>
        <p:spPr>
          <a:xfrm>
            <a:off x="0" y="0"/>
            <a:ext cx="12192000" cy="1119188"/>
          </a:xfrm>
          <a:prstGeom prst="rect">
            <a:avLst/>
          </a:prstGeom>
          <a:solidFill>
            <a:srgbClr val="0062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BC07F124-95A6-44AD-B2E6-398FDDFA83E5}"/>
              </a:ext>
            </a:extLst>
          </p:cNvPr>
          <p:cNvSpPr txBox="1"/>
          <p:nvPr userDrawn="1"/>
        </p:nvSpPr>
        <p:spPr>
          <a:xfrm>
            <a:off x="6548578" y="251865"/>
            <a:ext cx="5328000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SOLUÇÃO</a:t>
            </a:r>
            <a:endParaRPr kumimoji="0" lang="pt-BR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FD280BC4-4404-4945-9DE9-5065499516F3}"/>
              </a:ext>
            </a:extLst>
          </p:cNvPr>
          <p:cNvSpPr txBox="1"/>
          <p:nvPr userDrawn="1"/>
        </p:nvSpPr>
        <p:spPr>
          <a:xfrm>
            <a:off x="1117957" y="251865"/>
            <a:ext cx="5328000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INICIATIVA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232DAD2E-8EC9-4274-9D55-C2281B43790C}"/>
              </a:ext>
            </a:extLst>
          </p:cNvPr>
          <p:cNvSpPr txBox="1"/>
          <p:nvPr userDrawn="1"/>
        </p:nvSpPr>
        <p:spPr>
          <a:xfrm>
            <a:off x="329721" y="251865"/>
            <a:ext cx="684000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5A8617C-A2E4-47A2-A898-15ADE094BA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269" y="349878"/>
            <a:ext cx="591848" cy="478353"/>
          </a:xfrm>
        </p:spPr>
        <p:txBody>
          <a:bodyPr anchor="ctr">
            <a:normAutofit/>
          </a:bodyPr>
          <a:lstStyle>
            <a:lvl1pPr algn="ctr">
              <a:buNone/>
              <a:defRPr sz="200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</a:t>
            </a:r>
          </a:p>
        </p:txBody>
      </p:sp>
      <p:sp>
        <p:nvSpPr>
          <p:cNvPr id="53" name="Espaço Reservado para Texto 2">
            <a:extLst>
              <a:ext uri="{FF2B5EF4-FFF2-40B4-BE49-F238E27FC236}">
                <a16:creationId xmlns:a16="http://schemas.microsoft.com/office/drawing/2014/main" id="{C397C00D-D4DA-4B48-B913-CA5944AD9F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18349" y="570272"/>
            <a:ext cx="5300312" cy="329156"/>
          </a:xfrm>
        </p:spPr>
        <p:txBody>
          <a:bodyPr anchor="t">
            <a:noAutofit/>
          </a:bodyPr>
          <a:lstStyle>
            <a:lvl1pPr algn="l">
              <a:buNone/>
              <a:defRPr sz="1600">
                <a:solidFill>
                  <a:srgbClr val="675C53"/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54" name="Espaço Reservado para Texto 2">
            <a:extLst>
              <a:ext uri="{FF2B5EF4-FFF2-40B4-BE49-F238E27FC236}">
                <a16:creationId xmlns:a16="http://schemas.microsoft.com/office/drawing/2014/main" id="{05ADF487-4EFB-4A91-9CB9-54C649807B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45715" y="570272"/>
            <a:ext cx="5300312" cy="329156"/>
          </a:xfrm>
        </p:spPr>
        <p:txBody>
          <a:bodyPr anchor="t">
            <a:noAutofit/>
          </a:bodyPr>
          <a:lstStyle>
            <a:lvl1pPr algn="l">
              <a:buNone/>
              <a:defRPr sz="1600">
                <a:solidFill>
                  <a:srgbClr val="675C53"/>
                </a:solidFill>
              </a:defRPr>
            </a:lvl1pPr>
          </a:lstStyle>
          <a:p>
            <a:pPr lvl="0"/>
            <a:endParaRPr lang="pt-BR"/>
          </a:p>
        </p:txBody>
      </p:sp>
      <p:pic>
        <p:nvPicPr>
          <p:cNvPr id="28" name="Picture 10">
            <a:extLst>
              <a:ext uri="{FF2B5EF4-FFF2-40B4-BE49-F238E27FC236}">
                <a16:creationId xmlns:a16="http://schemas.microsoft.com/office/drawing/2014/main" id="{479BBA6D-2E65-4393-8D17-09D0A1490CC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rcRect/>
          <a:stretch/>
        </p:blipFill>
        <p:spPr bwMode="auto">
          <a:xfrm>
            <a:off x="11695841" y="6428255"/>
            <a:ext cx="360363" cy="360363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5171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bg>
      <p:bgPr>
        <a:solidFill>
          <a:srgbClr val="0062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rma Livre: Forma 26">
            <a:extLst>
              <a:ext uri="{FF2B5EF4-FFF2-40B4-BE49-F238E27FC236}">
                <a16:creationId xmlns:a16="http://schemas.microsoft.com/office/drawing/2014/main" id="{F8514690-00D7-4B2F-A36C-40A6DE479167}"/>
              </a:ext>
            </a:extLst>
          </p:cNvPr>
          <p:cNvSpPr/>
          <p:nvPr userDrawn="1"/>
        </p:nvSpPr>
        <p:spPr>
          <a:xfrm>
            <a:off x="0" y="6379648"/>
            <a:ext cx="12192162" cy="478353"/>
          </a:xfrm>
          <a:custGeom>
            <a:avLst/>
            <a:gdLst>
              <a:gd name="connsiteX0" fmla="*/ 0 w 12192162"/>
              <a:gd name="connsiteY0" fmla="*/ 0 h 478353"/>
              <a:gd name="connsiteX1" fmla="*/ 897812 w 12192162"/>
              <a:gd name="connsiteY1" fmla="*/ 1844 h 478353"/>
              <a:gd name="connsiteX2" fmla="*/ 1389496 w 12192162"/>
              <a:gd name="connsiteY2" fmla="*/ 3614 h 478353"/>
              <a:gd name="connsiteX3" fmla="*/ 3218751 w 12192162"/>
              <a:gd name="connsiteY3" fmla="*/ 218417 h 478353"/>
              <a:gd name="connsiteX4" fmla="*/ 12192162 w 12192162"/>
              <a:gd name="connsiteY4" fmla="*/ 224407 h 478353"/>
              <a:gd name="connsiteX5" fmla="*/ 12191999 w 12192162"/>
              <a:gd name="connsiteY5" fmla="*/ 478353 h 478353"/>
              <a:gd name="connsiteX6" fmla="*/ 0 w 12192162"/>
              <a:gd name="connsiteY6" fmla="*/ 478353 h 4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162" h="478353">
                <a:moveTo>
                  <a:pt x="0" y="0"/>
                </a:moveTo>
                <a:lnTo>
                  <a:pt x="897812" y="1844"/>
                </a:lnTo>
                <a:lnTo>
                  <a:pt x="1389496" y="3614"/>
                </a:lnTo>
                <a:cubicBezTo>
                  <a:pt x="2155312" y="11961"/>
                  <a:pt x="1782436" y="218903"/>
                  <a:pt x="3218751" y="218417"/>
                </a:cubicBezTo>
                <a:lnTo>
                  <a:pt x="12192162" y="224407"/>
                </a:lnTo>
                <a:cubicBezTo>
                  <a:pt x="12192108" y="309056"/>
                  <a:pt x="12192053" y="393704"/>
                  <a:pt x="12191999" y="478353"/>
                </a:cubicBezTo>
                <a:lnTo>
                  <a:pt x="0" y="47835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73" name="Retângulo 4">
            <a:extLst>
              <a:ext uri="{FF2B5EF4-FFF2-40B4-BE49-F238E27FC236}">
                <a16:creationId xmlns:a16="http://schemas.microsoft.com/office/drawing/2014/main" id="{4CA31EBD-D983-0D40-99CA-101EB48A6E6D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4" name="Retângulo 5">
            <a:extLst>
              <a:ext uri="{FF2B5EF4-FFF2-40B4-BE49-F238E27FC236}">
                <a16:creationId xmlns:a16="http://schemas.microsoft.com/office/drawing/2014/main" id="{29D49441-9231-A442-8561-2384BADE4378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5" name="Retângulo 6">
            <a:extLst>
              <a:ext uri="{FF2B5EF4-FFF2-40B4-BE49-F238E27FC236}">
                <a16:creationId xmlns:a16="http://schemas.microsoft.com/office/drawing/2014/main" id="{F7640527-FE94-5349-811E-A2E910A8136C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6" name="Retângulo 7">
            <a:extLst>
              <a:ext uri="{FF2B5EF4-FFF2-40B4-BE49-F238E27FC236}">
                <a16:creationId xmlns:a16="http://schemas.microsoft.com/office/drawing/2014/main" id="{3B638C98-8153-084F-BC91-FF9A132098AF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7" name="Retângulo 8">
            <a:extLst>
              <a:ext uri="{FF2B5EF4-FFF2-40B4-BE49-F238E27FC236}">
                <a16:creationId xmlns:a16="http://schemas.microsoft.com/office/drawing/2014/main" id="{6884A18B-D2C7-6240-8842-51A144CF341C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8" name="Retângulo 9">
            <a:extLst>
              <a:ext uri="{FF2B5EF4-FFF2-40B4-BE49-F238E27FC236}">
                <a16:creationId xmlns:a16="http://schemas.microsoft.com/office/drawing/2014/main" id="{24C46CAB-AC79-FB44-9FE5-10BE6CD36186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9" name="Retângulo 10">
            <a:extLst>
              <a:ext uri="{FF2B5EF4-FFF2-40B4-BE49-F238E27FC236}">
                <a16:creationId xmlns:a16="http://schemas.microsoft.com/office/drawing/2014/main" id="{A90F9425-5A51-3B4F-8146-65B58B0D7858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0" name="Retângulo 11">
            <a:extLst>
              <a:ext uri="{FF2B5EF4-FFF2-40B4-BE49-F238E27FC236}">
                <a16:creationId xmlns:a16="http://schemas.microsoft.com/office/drawing/2014/main" id="{206BCEC6-DDEC-3A4A-8632-AE5121D85535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1" name="Retângulo 12">
            <a:extLst>
              <a:ext uri="{FF2B5EF4-FFF2-40B4-BE49-F238E27FC236}">
                <a16:creationId xmlns:a16="http://schemas.microsoft.com/office/drawing/2014/main" id="{2D82E554-646B-AC40-92DB-034DC637D8B8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2" name="Retângulo 13">
            <a:extLst>
              <a:ext uri="{FF2B5EF4-FFF2-40B4-BE49-F238E27FC236}">
                <a16:creationId xmlns:a16="http://schemas.microsoft.com/office/drawing/2014/main" id="{4DC6A1B2-4201-9E4C-87B2-C5F15A8F3ED3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3" name="Retângulo 14">
            <a:extLst>
              <a:ext uri="{FF2B5EF4-FFF2-40B4-BE49-F238E27FC236}">
                <a16:creationId xmlns:a16="http://schemas.microsoft.com/office/drawing/2014/main" id="{724AB98E-4D47-B647-A7F8-0F4CB9AB3982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grpSp>
        <p:nvGrpSpPr>
          <p:cNvPr id="85" name="Agrupar 23">
            <a:extLst>
              <a:ext uri="{FF2B5EF4-FFF2-40B4-BE49-F238E27FC236}">
                <a16:creationId xmlns:a16="http://schemas.microsoft.com/office/drawing/2014/main" id="{BCC86B30-B864-644F-86E9-2CFAEEF4ABD1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86" name="Freeform 25">
              <a:extLst>
                <a:ext uri="{FF2B5EF4-FFF2-40B4-BE49-F238E27FC236}">
                  <a16:creationId xmlns:a16="http://schemas.microsoft.com/office/drawing/2014/main" id="{496BD72D-3597-E44C-80B1-6951BA663D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7" name="Freeform 26">
              <a:extLst>
                <a:ext uri="{FF2B5EF4-FFF2-40B4-BE49-F238E27FC236}">
                  <a16:creationId xmlns:a16="http://schemas.microsoft.com/office/drawing/2014/main" id="{55047C3C-36EB-6347-AA6B-9A13F136F3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8" name="Oval 27">
              <a:extLst>
                <a:ext uri="{FF2B5EF4-FFF2-40B4-BE49-F238E27FC236}">
                  <a16:creationId xmlns:a16="http://schemas.microsoft.com/office/drawing/2014/main" id="{DBE74293-5892-5444-BE81-DB43C760EB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9" name="Freeform 14">
              <a:extLst>
                <a:ext uri="{FF2B5EF4-FFF2-40B4-BE49-F238E27FC236}">
                  <a16:creationId xmlns:a16="http://schemas.microsoft.com/office/drawing/2014/main" id="{CE800642-7001-594F-BC78-7ED00ADBD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90" name="Freeform 13">
              <a:extLst>
                <a:ext uri="{FF2B5EF4-FFF2-40B4-BE49-F238E27FC236}">
                  <a16:creationId xmlns:a16="http://schemas.microsoft.com/office/drawing/2014/main" id="{9A16EB83-A922-0443-9C4F-3F94AF7C49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4BB6D95F-A503-4C20-97E3-94719DC9CA48}"/>
              </a:ext>
            </a:extLst>
          </p:cNvPr>
          <p:cNvSpPr txBox="1"/>
          <p:nvPr userDrawn="1"/>
        </p:nvSpPr>
        <p:spPr>
          <a:xfrm>
            <a:off x="9078048" y="1166265"/>
            <a:ext cx="2836080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120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ONCLUSÃO SOLUÇÃO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2018B6C5-5EBC-422F-A4EA-BE5B831EED4D}"/>
              </a:ext>
            </a:extLst>
          </p:cNvPr>
          <p:cNvSpPr txBox="1"/>
          <p:nvPr userDrawn="1"/>
        </p:nvSpPr>
        <p:spPr>
          <a:xfrm>
            <a:off x="1117957" y="1166265"/>
            <a:ext cx="7880062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INICIATIVA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4A0EFFE6-81B7-413A-94E2-6242F33B7FC5}"/>
              </a:ext>
            </a:extLst>
          </p:cNvPr>
          <p:cNvSpPr txBox="1"/>
          <p:nvPr userDrawn="1"/>
        </p:nvSpPr>
        <p:spPr>
          <a:xfrm>
            <a:off x="329721" y="1166265"/>
            <a:ext cx="684000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grpSp>
        <p:nvGrpSpPr>
          <p:cNvPr id="48" name="Agrupar 47">
            <a:extLst>
              <a:ext uri="{FF2B5EF4-FFF2-40B4-BE49-F238E27FC236}">
                <a16:creationId xmlns:a16="http://schemas.microsoft.com/office/drawing/2014/main" id="{B569C1E6-C48B-4D81-AB44-746F040D0AF8}"/>
              </a:ext>
            </a:extLst>
          </p:cNvPr>
          <p:cNvGrpSpPr/>
          <p:nvPr userDrawn="1"/>
        </p:nvGrpSpPr>
        <p:grpSpPr>
          <a:xfrm>
            <a:off x="213993" y="153865"/>
            <a:ext cx="2422652" cy="648000"/>
            <a:chOff x="4676775" y="4572347"/>
            <a:chExt cx="2811116" cy="743703"/>
          </a:xfrm>
        </p:grpSpPr>
        <p:sp>
          <p:nvSpPr>
            <p:cNvPr id="50" name="Freeform 25">
              <a:extLst>
                <a:ext uri="{FF2B5EF4-FFF2-40B4-BE49-F238E27FC236}">
                  <a16:creationId xmlns:a16="http://schemas.microsoft.com/office/drawing/2014/main" id="{AC1139D6-A2BA-488C-9462-D5ABDDB50A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2835" y="4753832"/>
              <a:ext cx="1008063" cy="43497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36" tIns="45719" rIns="91436" bIns="4571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51" name="Freeform 26">
              <a:extLst>
                <a:ext uri="{FF2B5EF4-FFF2-40B4-BE49-F238E27FC236}">
                  <a16:creationId xmlns:a16="http://schemas.microsoft.com/office/drawing/2014/main" id="{B16463C6-3C2A-433F-A3C8-D96C695067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98892" y="4736263"/>
              <a:ext cx="888999" cy="441325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36" tIns="45719" rIns="91436" bIns="4571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9" b="0" i="0" u="none" strike="noStrike" kern="0" cap="none" spc="0" normalizeH="0" baseline="0" noProof="0">
                <a:ln>
                  <a:noFill/>
                </a:ln>
                <a:solidFill>
                  <a:srgbClr val="00B2A9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52" name="Oval 27">
              <a:extLst>
                <a:ext uri="{FF2B5EF4-FFF2-40B4-BE49-F238E27FC236}">
                  <a16:creationId xmlns:a16="http://schemas.microsoft.com/office/drawing/2014/main" id="{AB488016-E70F-4E9F-9F7F-BA36829384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6775" y="4572347"/>
              <a:ext cx="793677" cy="743703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6" tIns="45719" rIns="91436" bIns="4571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9" b="0" i="0" u="none" strike="noStrike" kern="0" cap="none" spc="0" normalizeH="0" baseline="0" noProof="0">
                <a:ln>
                  <a:noFill/>
                </a:ln>
                <a:solidFill>
                  <a:srgbClr val="00B2A9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</p:grp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49" name="Espaço Reservado para Conteúdo 14">
                <a:extLst>
                  <a:ext uri="{FF2B5EF4-FFF2-40B4-BE49-F238E27FC236}">
                    <a16:creationId xmlns:a16="http://schemas.microsoft.com/office/drawing/2014/main" id="{C067050F-01D3-4A5F-8020-4714DB22FFF1}"/>
                  </a:ext>
                </a:extLst>
              </p:cNvPr>
              <p:cNvGraphicFramePr>
                <a:graphicFrameLocks noChangeAspect="1"/>
              </p:cNvGraphicFramePr>
              <p:nvPr userDrawn="1">
                <p:extLst>
                  <p:ext uri="{D42A27DB-BD31-4B8C-83A1-F6EECF244321}">
                    <p14:modId xmlns:p14="http://schemas.microsoft.com/office/powerpoint/2010/main" val="344785798"/>
                  </p:ext>
                </p:extLst>
              </p:nvPr>
            </p:nvGraphicFramePr>
            <p:xfrm>
              <a:off x="286002" y="177757"/>
              <a:ext cx="535592" cy="600216"/>
            </p:xfrm>
            <a:graphic>
              <a:graphicData uri="http://schemas.microsoft.com/office/drawing/2017/model3d">
                <am3d:model3d r:embed="rId2">
                  <am3d:spPr>
                    <a:xfrm>
                      <a:off x="0" y="0"/>
                      <a:ext cx="535592" cy="600216"/>
                    </a:xfrm>
                    <a:prstGeom prst="rect">
                      <a:avLst/>
                    </a:prstGeom>
                  </am3d:spPr>
                  <am3d:camera>
                    <am3d:pos x="0" y="0" z="81469184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66093" d="1000000"/>
                    <am3d:preTrans dx="-36352141" dy="-16847072" dz="-217484733"/>
                    <am3d:scale>
                      <am3d:sx n="1000000" d="1000000"/>
                      <am3d:sy n="1000000" d="1000000"/>
                      <am3d:sz n="1000000" d="1000000"/>
                    </am3d:scale>
                    <am3d:rot ax="9102163" ay="1685958" az="9905867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618194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49" name="Espaço Reservado para Conteúdo 14">
                <a:extLst>
                  <a:ext uri="{FF2B5EF4-FFF2-40B4-BE49-F238E27FC236}">
                    <a16:creationId xmlns:a16="http://schemas.microsoft.com/office/drawing/2014/main" id="{C067050F-01D3-4A5F-8020-4714DB22FFF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86002" y="177757"/>
                <a:ext cx="535592" cy="600216"/>
              </a:xfrm>
              <a:prstGeom prst="rect">
                <a:avLst/>
              </a:prstGeom>
            </p:spPr>
          </p:pic>
        </mc:Fallback>
      </mc:AlternateContent>
      <p:sp>
        <p:nvSpPr>
          <p:cNvPr id="55" name="CaixaDeTexto 54">
            <a:extLst>
              <a:ext uri="{FF2B5EF4-FFF2-40B4-BE49-F238E27FC236}">
                <a16:creationId xmlns:a16="http://schemas.microsoft.com/office/drawing/2014/main" id="{8F207D08-7FE5-47BE-BCFD-4782F4F69A75}"/>
              </a:ext>
            </a:extLst>
          </p:cNvPr>
          <p:cNvSpPr txBox="1"/>
          <p:nvPr userDrawn="1"/>
        </p:nvSpPr>
        <p:spPr>
          <a:xfrm>
            <a:off x="329721" y="1893087"/>
            <a:ext cx="2836080" cy="408680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SOLUÇÃ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97E9BBDD-E6F0-4FA1-A0AA-35E4B8C6AEC4}"/>
              </a:ext>
            </a:extLst>
          </p:cNvPr>
          <p:cNvSpPr txBox="1"/>
          <p:nvPr userDrawn="1"/>
        </p:nvSpPr>
        <p:spPr>
          <a:xfrm>
            <a:off x="3245830" y="1893087"/>
            <a:ext cx="2836080" cy="408680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DIFERENCI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b="0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3705865F-EB83-40C6-A397-D5ECC1436A92}"/>
              </a:ext>
            </a:extLst>
          </p:cNvPr>
          <p:cNvSpPr txBox="1"/>
          <p:nvPr userDrawn="1"/>
        </p:nvSpPr>
        <p:spPr>
          <a:xfrm>
            <a:off x="6161939" y="1893087"/>
            <a:ext cx="2836080" cy="408680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RESULTADOS ESPERADO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b="0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2DB1616D-AC2D-4CAC-AB50-07D4B46CA107}"/>
              </a:ext>
            </a:extLst>
          </p:cNvPr>
          <p:cNvSpPr txBox="1"/>
          <p:nvPr userDrawn="1"/>
        </p:nvSpPr>
        <p:spPr>
          <a:xfrm>
            <a:off x="9078048" y="1893087"/>
            <a:ext cx="2836080" cy="408680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RISCO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grpSp>
        <p:nvGrpSpPr>
          <p:cNvPr id="59" name="Agrupar 58">
            <a:extLst>
              <a:ext uri="{FF2B5EF4-FFF2-40B4-BE49-F238E27FC236}">
                <a16:creationId xmlns:a16="http://schemas.microsoft.com/office/drawing/2014/main" id="{503CA035-2DEC-4187-9DB2-ECB834A47C17}"/>
              </a:ext>
            </a:extLst>
          </p:cNvPr>
          <p:cNvGrpSpPr/>
          <p:nvPr userDrawn="1"/>
        </p:nvGrpSpPr>
        <p:grpSpPr>
          <a:xfrm>
            <a:off x="6648574" y="6243272"/>
            <a:ext cx="5712270" cy="539026"/>
            <a:chOff x="6648574" y="6243272"/>
            <a:chExt cx="5712270" cy="539026"/>
          </a:xfrm>
        </p:grpSpPr>
        <p:grpSp>
          <p:nvGrpSpPr>
            <p:cNvPr id="60" name="Agrupar 59">
              <a:extLst>
                <a:ext uri="{FF2B5EF4-FFF2-40B4-BE49-F238E27FC236}">
                  <a16:creationId xmlns:a16="http://schemas.microsoft.com/office/drawing/2014/main" id="{C6B0F095-C0DF-4A2B-B75D-04B955030246}"/>
                </a:ext>
              </a:extLst>
            </p:cNvPr>
            <p:cNvGrpSpPr/>
            <p:nvPr/>
          </p:nvGrpSpPr>
          <p:grpSpPr>
            <a:xfrm>
              <a:off x="6648574" y="6243272"/>
              <a:ext cx="5712270" cy="539026"/>
              <a:chOff x="4365606" y="269074"/>
              <a:chExt cx="4764273" cy="539026"/>
            </a:xfrm>
          </p:grpSpPr>
          <p:cxnSp>
            <p:nvCxnSpPr>
              <p:cNvPr id="62" name="Conector reto 16">
                <a:extLst>
                  <a:ext uri="{FF2B5EF4-FFF2-40B4-BE49-F238E27FC236}">
                    <a16:creationId xmlns:a16="http://schemas.microsoft.com/office/drawing/2014/main" id="{798FD16C-D7EE-4347-B3E7-FBAC1C1B8B9B}"/>
                  </a:ext>
                </a:extLst>
              </p:cNvPr>
              <p:cNvCxnSpPr>
                <a:cxnSpLocks/>
                <a:endCxn id="71" idx="2"/>
              </p:cNvCxnSpPr>
              <p:nvPr/>
            </p:nvCxnSpPr>
            <p:spPr>
              <a:xfrm>
                <a:off x="5807452" y="406186"/>
                <a:ext cx="2732160" cy="13776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Fluxograma: Conector 17">
                <a:extLst>
                  <a:ext uri="{FF2B5EF4-FFF2-40B4-BE49-F238E27FC236}">
                    <a16:creationId xmlns:a16="http://schemas.microsoft.com/office/drawing/2014/main" id="{27C0A9DC-491B-4E58-9B82-14EA1D73E9D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334" y="280185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Fluxograma: Conector 20">
                <a:extLst>
                  <a:ext uri="{FF2B5EF4-FFF2-40B4-BE49-F238E27FC236}">
                    <a16:creationId xmlns:a16="http://schemas.microsoft.com/office/drawing/2014/main" id="{7F829698-7297-4022-9BD3-35C4C912A62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800775" y="270845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CaixaDeTexto 64">
                <a:extLst>
                  <a:ext uri="{FF2B5EF4-FFF2-40B4-BE49-F238E27FC236}">
                    <a16:creationId xmlns:a16="http://schemas.microsoft.com/office/drawing/2014/main" id="{3545B6F8-2C0C-4F2E-8AFB-954FC82A5215}"/>
                  </a:ext>
                </a:extLst>
              </p:cNvPr>
              <p:cNvSpPr txBox="1"/>
              <p:nvPr/>
            </p:nvSpPr>
            <p:spPr>
              <a:xfrm>
                <a:off x="5347952" y="558125"/>
                <a:ext cx="83469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95000"/>
                      </a:prstClr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Ideação</a:t>
                </a:r>
              </a:p>
            </p:txBody>
          </p:sp>
          <p:sp>
            <p:nvSpPr>
              <p:cNvPr id="66" name="CaixaDeTexto 65">
                <a:extLst>
                  <a:ext uri="{FF2B5EF4-FFF2-40B4-BE49-F238E27FC236}">
                    <a16:creationId xmlns:a16="http://schemas.microsoft.com/office/drawing/2014/main" id="{FA5BE3CD-C486-4E40-BB8D-5B420BEB5A93}"/>
                  </a:ext>
                </a:extLst>
              </p:cNvPr>
              <p:cNvSpPr txBox="1"/>
              <p:nvPr/>
            </p:nvSpPr>
            <p:spPr>
              <a:xfrm>
                <a:off x="6089375" y="558125"/>
                <a:ext cx="61375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95000"/>
                      </a:prstClr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Pesquisa</a:t>
                </a:r>
              </a:p>
            </p:txBody>
          </p:sp>
          <p:sp>
            <p:nvSpPr>
              <p:cNvPr id="67" name="CaixaDeTexto 66">
                <a:extLst>
                  <a:ext uri="{FF2B5EF4-FFF2-40B4-BE49-F238E27FC236}">
                    <a16:creationId xmlns:a16="http://schemas.microsoft.com/office/drawing/2014/main" id="{CEF484FB-92CC-45E3-B87F-F0B8380EB2F9}"/>
                  </a:ext>
                </a:extLst>
              </p:cNvPr>
              <p:cNvSpPr txBox="1"/>
              <p:nvPr/>
            </p:nvSpPr>
            <p:spPr>
              <a:xfrm>
                <a:off x="6636974" y="558125"/>
                <a:ext cx="93882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95000"/>
                      </a:prstClr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Experimentação</a:t>
                </a:r>
              </a:p>
            </p:txBody>
          </p:sp>
          <p:sp>
            <p:nvSpPr>
              <p:cNvPr id="68" name="CaixaDeTexto 67">
                <a:extLst>
                  <a:ext uri="{FF2B5EF4-FFF2-40B4-BE49-F238E27FC236}">
                    <a16:creationId xmlns:a16="http://schemas.microsoft.com/office/drawing/2014/main" id="{D687A6C7-FFE8-4A11-B5C5-C3B324281D82}"/>
                  </a:ext>
                </a:extLst>
              </p:cNvPr>
              <p:cNvSpPr txBox="1"/>
              <p:nvPr/>
            </p:nvSpPr>
            <p:spPr>
              <a:xfrm>
                <a:off x="4365606" y="318367"/>
                <a:ext cx="970855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FASE DO PRODUTO</a:t>
                </a:r>
              </a:p>
            </p:txBody>
          </p:sp>
          <p:sp>
            <p:nvSpPr>
              <p:cNvPr id="69" name="Fluxograma: Conector 19">
                <a:extLst>
                  <a:ext uri="{FF2B5EF4-FFF2-40B4-BE49-F238E27FC236}">
                    <a16:creationId xmlns:a16="http://schemas.microsoft.com/office/drawing/2014/main" id="{61141EB2-2F94-48AF-B895-214CDE4B26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91892" y="269074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0" name="CaixaDeTexto 69">
                <a:extLst>
                  <a:ext uri="{FF2B5EF4-FFF2-40B4-BE49-F238E27FC236}">
                    <a16:creationId xmlns:a16="http://schemas.microsoft.com/office/drawing/2014/main" id="{C7BF895A-53E1-4364-ADE5-D2EDF41051FC}"/>
                  </a:ext>
                </a:extLst>
              </p:cNvPr>
              <p:cNvSpPr txBox="1"/>
              <p:nvPr/>
            </p:nvSpPr>
            <p:spPr>
              <a:xfrm>
                <a:off x="7461140" y="560930"/>
                <a:ext cx="93882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95000"/>
                      </a:prstClr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Implementação</a:t>
                </a:r>
              </a:p>
            </p:txBody>
          </p:sp>
          <p:sp>
            <p:nvSpPr>
              <p:cNvPr id="71" name="Fluxograma: Conector 20">
                <a:extLst>
                  <a:ext uri="{FF2B5EF4-FFF2-40B4-BE49-F238E27FC236}">
                    <a16:creationId xmlns:a16="http://schemas.microsoft.com/office/drawing/2014/main" id="{AC3D0A76-5993-4E1B-AC80-45328C5B2F4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539612" y="275962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CaixaDeTexto 71">
                <a:extLst>
                  <a:ext uri="{FF2B5EF4-FFF2-40B4-BE49-F238E27FC236}">
                    <a16:creationId xmlns:a16="http://schemas.microsoft.com/office/drawing/2014/main" id="{F8EC2C32-7481-4D8A-AEA7-650EFE53B272}"/>
                  </a:ext>
                </a:extLst>
              </p:cNvPr>
              <p:cNvSpPr txBox="1"/>
              <p:nvPr/>
            </p:nvSpPr>
            <p:spPr>
              <a:xfrm>
                <a:off x="8191059" y="561879"/>
                <a:ext cx="93882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95000"/>
                      </a:prstClr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Ativação</a:t>
                </a:r>
              </a:p>
            </p:txBody>
          </p:sp>
          <p:sp>
            <p:nvSpPr>
              <p:cNvPr id="84" name="Fluxograma: Conector 19">
                <a:extLst>
                  <a:ext uri="{FF2B5EF4-FFF2-40B4-BE49-F238E27FC236}">
                    <a16:creationId xmlns:a16="http://schemas.microsoft.com/office/drawing/2014/main" id="{6E4EE595-D0A5-4CAD-8BA2-77D630BDB2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970135" y="269074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cxnSp>
          <p:nvCxnSpPr>
            <p:cNvPr id="61" name="Conector reto 60">
              <a:extLst>
                <a:ext uri="{FF2B5EF4-FFF2-40B4-BE49-F238E27FC236}">
                  <a16:creationId xmlns:a16="http://schemas.microsoft.com/office/drawing/2014/main" id="{7AE777B2-6E0C-4796-B70A-C0392EE6EDAB}"/>
                </a:ext>
              </a:extLst>
            </p:cNvPr>
            <p:cNvCxnSpPr/>
            <p:nvPr/>
          </p:nvCxnSpPr>
          <p:spPr>
            <a:xfrm>
              <a:off x="7811872" y="6302365"/>
              <a:ext cx="0" cy="413038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Retângulo 90">
            <a:extLst>
              <a:ext uri="{FF2B5EF4-FFF2-40B4-BE49-F238E27FC236}">
                <a16:creationId xmlns:a16="http://schemas.microsoft.com/office/drawing/2014/main" id="{A4C538BC-1B9A-456F-893E-A7B4708AF98E}"/>
              </a:ext>
            </a:extLst>
          </p:cNvPr>
          <p:cNvSpPr/>
          <p:nvPr userDrawn="1"/>
        </p:nvSpPr>
        <p:spPr>
          <a:xfrm>
            <a:off x="300515" y="5241110"/>
            <a:ext cx="11628126" cy="753293"/>
          </a:xfrm>
          <a:prstGeom prst="rect">
            <a:avLst/>
          </a:prstGeom>
          <a:solidFill>
            <a:srgbClr val="006298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3" name="Gráfico 92" descr="Diamante com preenchimento sólido">
            <a:extLst>
              <a:ext uri="{FF2B5EF4-FFF2-40B4-BE49-F238E27FC236}">
                <a16:creationId xmlns:a16="http://schemas.microsoft.com/office/drawing/2014/main" id="{8D613C7F-E61B-4049-B9C8-2143FA04E1A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86758" y="5282307"/>
            <a:ext cx="648000" cy="648000"/>
          </a:xfrm>
          <a:prstGeom prst="rect">
            <a:avLst/>
          </a:prstGeom>
        </p:spPr>
      </p:pic>
      <p:pic>
        <p:nvPicPr>
          <p:cNvPr id="94" name="Gráfico 93" descr="Na mosca com preenchimento sólido">
            <a:extLst>
              <a:ext uri="{FF2B5EF4-FFF2-40B4-BE49-F238E27FC236}">
                <a16:creationId xmlns:a16="http://schemas.microsoft.com/office/drawing/2014/main" id="{FE93AB3B-8810-4251-A8CB-A4EB1F3652E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80142" y="5282307"/>
            <a:ext cx="648000" cy="648000"/>
          </a:xfrm>
          <a:prstGeom prst="rect">
            <a:avLst/>
          </a:prstGeom>
        </p:spPr>
      </p:pic>
      <p:pic>
        <p:nvPicPr>
          <p:cNvPr id="95" name="Gráfico 94" descr="Aviso com preenchimento sólido">
            <a:extLst>
              <a:ext uri="{FF2B5EF4-FFF2-40B4-BE49-F238E27FC236}">
                <a16:creationId xmlns:a16="http://schemas.microsoft.com/office/drawing/2014/main" id="{C8CBD99F-2452-4049-84DD-494977CB8D5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73527" y="5282307"/>
            <a:ext cx="648000" cy="648000"/>
          </a:xfrm>
          <a:prstGeom prst="rect">
            <a:avLst/>
          </a:prstGeom>
        </p:spPr>
      </p:pic>
      <p:pic>
        <p:nvPicPr>
          <p:cNvPr id="96" name="Gráfico 95" descr="Caixa de embalagem aberta com preenchimento sólido">
            <a:extLst>
              <a:ext uri="{FF2B5EF4-FFF2-40B4-BE49-F238E27FC236}">
                <a16:creationId xmlns:a16="http://schemas.microsoft.com/office/drawing/2014/main" id="{94169B08-89E3-4169-8B8B-BCD66397159F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493374" y="5282307"/>
            <a:ext cx="648000" cy="648000"/>
          </a:xfrm>
          <a:prstGeom prst="rect">
            <a:avLst/>
          </a:prstGeom>
        </p:spPr>
      </p:pic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C116DF3-926B-446C-BF00-E038DFED8A8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29721" y="2432712"/>
            <a:ext cx="2836080" cy="2475870"/>
          </a:xfrm>
        </p:spPr>
        <p:txBody>
          <a:bodyPr>
            <a:noAutofit/>
          </a:bodyPr>
          <a:lstStyle>
            <a:lvl1pPr marL="0">
              <a:buNone/>
              <a:defRPr sz="1600" b="1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X</a:t>
            </a:r>
          </a:p>
        </p:txBody>
      </p:sp>
      <p:sp>
        <p:nvSpPr>
          <p:cNvPr id="97" name="Espaço Reservado para Texto 4">
            <a:extLst>
              <a:ext uri="{FF2B5EF4-FFF2-40B4-BE49-F238E27FC236}">
                <a16:creationId xmlns:a16="http://schemas.microsoft.com/office/drawing/2014/main" id="{7376BDEC-AA48-46E0-BF48-828869A64B81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53087" y="2432712"/>
            <a:ext cx="2836080" cy="2475870"/>
          </a:xfrm>
        </p:spPr>
        <p:txBody>
          <a:bodyPr>
            <a:noAutofit/>
          </a:bodyPr>
          <a:lstStyle>
            <a:lvl1pPr marL="0">
              <a:buNone/>
              <a:defRPr sz="1600" b="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X</a:t>
            </a:r>
          </a:p>
        </p:txBody>
      </p:sp>
      <p:sp>
        <p:nvSpPr>
          <p:cNvPr id="98" name="Espaço Reservado para Texto 4">
            <a:extLst>
              <a:ext uri="{FF2B5EF4-FFF2-40B4-BE49-F238E27FC236}">
                <a16:creationId xmlns:a16="http://schemas.microsoft.com/office/drawing/2014/main" id="{9F5D0143-B8EE-40B1-AFC6-0D3B460E9ED0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163017" y="2432712"/>
            <a:ext cx="2836080" cy="2475870"/>
          </a:xfrm>
        </p:spPr>
        <p:txBody>
          <a:bodyPr>
            <a:noAutofit/>
          </a:bodyPr>
          <a:lstStyle>
            <a:lvl1pPr marL="0">
              <a:buFont typeface="Wingdings" panose="05000000000000000000" pitchFamily="2" charset="2"/>
              <a:buChar char="§"/>
              <a:defRPr sz="1600" b="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XFAJSFBKBJASFJK AKSJFBJKASBFKJASBFJK</a:t>
            </a:r>
          </a:p>
        </p:txBody>
      </p:sp>
      <p:sp>
        <p:nvSpPr>
          <p:cNvPr id="99" name="Espaço Reservado para Texto 4">
            <a:extLst>
              <a:ext uri="{FF2B5EF4-FFF2-40B4-BE49-F238E27FC236}">
                <a16:creationId xmlns:a16="http://schemas.microsoft.com/office/drawing/2014/main" id="{EAA49BBF-909A-489F-A39A-383186E7364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084491" y="2432712"/>
            <a:ext cx="2836080" cy="2475870"/>
          </a:xfrm>
        </p:spPr>
        <p:txBody>
          <a:bodyPr>
            <a:noAutofit/>
          </a:bodyPr>
          <a:lstStyle>
            <a:lvl1pPr marL="0">
              <a:buFont typeface="Wingdings" panose="05000000000000000000" pitchFamily="2" charset="2"/>
              <a:buChar char="§"/>
              <a:defRPr sz="1600" b="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X ASFHASHFUASHF ASUFUIASFHIUASFH</a:t>
            </a:r>
          </a:p>
          <a:p>
            <a:pPr lvl="0"/>
            <a:r>
              <a:rPr lang="pt-BR"/>
              <a:t>ASFAISGFIUAS</a:t>
            </a:r>
          </a:p>
          <a:p>
            <a:pPr lvl="0"/>
            <a:r>
              <a:rPr lang="pt-BR"/>
              <a:t>ASFHASUHFUASHF AUSFHAUSHFOUIASH</a:t>
            </a:r>
          </a:p>
        </p:txBody>
      </p:sp>
      <p:sp>
        <p:nvSpPr>
          <p:cNvPr id="102" name="Espaço Reservado para Texto 4">
            <a:extLst>
              <a:ext uri="{FF2B5EF4-FFF2-40B4-BE49-F238E27FC236}">
                <a16:creationId xmlns:a16="http://schemas.microsoft.com/office/drawing/2014/main" id="{8C068473-2FC8-49CC-80EC-A540AE0BDB52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114801" y="1500175"/>
            <a:ext cx="7880062" cy="248198"/>
          </a:xfrm>
        </p:spPr>
        <p:txBody>
          <a:bodyPr>
            <a:noAutofit/>
          </a:bodyPr>
          <a:lstStyle>
            <a:lvl1pPr marL="0">
              <a:buNone/>
              <a:defRPr sz="1600" b="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X</a:t>
            </a:r>
          </a:p>
        </p:txBody>
      </p:sp>
      <p:sp>
        <p:nvSpPr>
          <p:cNvPr id="103" name="Espaço Reservado para Texto 4">
            <a:extLst>
              <a:ext uri="{FF2B5EF4-FFF2-40B4-BE49-F238E27FC236}">
                <a16:creationId xmlns:a16="http://schemas.microsoft.com/office/drawing/2014/main" id="{5718C920-D16F-411E-B6AF-266D02FC599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074892" y="1500175"/>
            <a:ext cx="2844000" cy="248198"/>
          </a:xfrm>
        </p:spPr>
        <p:txBody>
          <a:bodyPr>
            <a:noAutofit/>
          </a:bodyPr>
          <a:lstStyle>
            <a:lvl1pPr marL="0">
              <a:buNone/>
              <a:defRPr sz="1600" b="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Mês/aa</a:t>
            </a:r>
          </a:p>
        </p:txBody>
      </p:sp>
      <p:pic>
        <p:nvPicPr>
          <p:cNvPr id="104" name="Imagem 103" descr="Texto, Logotipo&#10;&#10;Descrição gerada automaticamente">
            <a:extLst>
              <a:ext uri="{FF2B5EF4-FFF2-40B4-BE49-F238E27FC236}">
                <a16:creationId xmlns:a16="http://schemas.microsoft.com/office/drawing/2014/main" id="{E4209E04-FF9B-4656-942D-AFC33EDD0E6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402" y="190048"/>
            <a:ext cx="1487783" cy="377564"/>
          </a:xfrm>
          <a:prstGeom prst="rect">
            <a:avLst/>
          </a:prstGeom>
        </p:spPr>
      </p:pic>
      <p:sp>
        <p:nvSpPr>
          <p:cNvPr id="107" name="Espaço Reservado para Texto 4">
            <a:extLst>
              <a:ext uri="{FF2B5EF4-FFF2-40B4-BE49-F238E27FC236}">
                <a16:creationId xmlns:a16="http://schemas.microsoft.com/office/drawing/2014/main" id="{1E230416-F26A-4AB0-9647-C875F606B617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342747" y="1261135"/>
            <a:ext cx="630652" cy="458907"/>
          </a:xfrm>
        </p:spPr>
        <p:txBody>
          <a:bodyPr anchor="ctr">
            <a:noAutofit/>
          </a:bodyPr>
          <a:lstStyle>
            <a:lvl1pPr marL="0" algn="ctr">
              <a:buNone/>
              <a:defRPr sz="2000" b="1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57207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mph" presetSubtype="2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3d.object.rotation.y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bg>
      <p:bgPr>
        <a:solidFill>
          <a:srgbClr val="0062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rma Livre: Forma 26">
            <a:extLst>
              <a:ext uri="{FF2B5EF4-FFF2-40B4-BE49-F238E27FC236}">
                <a16:creationId xmlns:a16="http://schemas.microsoft.com/office/drawing/2014/main" id="{F8514690-00D7-4B2F-A36C-40A6DE479167}"/>
              </a:ext>
            </a:extLst>
          </p:cNvPr>
          <p:cNvSpPr/>
          <p:nvPr userDrawn="1"/>
        </p:nvSpPr>
        <p:spPr>
          <a:xfrm>
            <a:off x="0" y="6379648"/>
            <a:ext cx="12192162" cy="478353"/>
          </a:xfrm>
          <a:custGeom>
            <a:avLst/>
            <a:gdLst>
              <a:gd name="connsiteX0" fmla="*/ 0 w 12192162"/>
              <a:gd name="connsiteY0" fmla="*/ 0 h 478353"/>
              <a:gd name="connsiteX1" fmla="*/ 897812 w 12192162"/>
              <a:gd name="connsiteY1" fmla="*/ 1844 h 478353"/>
              <a:gd name="connsiteX2" fmla="*/ 1389496 w 12192162"/>
              <a:gd name="connsiteY2" fmla="*/ 3614 h 478353"/>
              <a:gd name="connsiteX3" fmla="*/ 3218751 w 12192162"/>
              <a:gd name="connsiteY3" fmla="*/ 218417 h 478353"/>
              <a:gd name="connsiteX4" fmla="*/ 12192162 w 12192162"/>
              <a:gd name="connsiteY4" fmla="*/ 224407 h 478353"/>
              <a:gd name="connsiteX5" fmla="*/ 12191999 w 12192162"/>
              <a:gd name="connsiteY5" fmla="*/ 478353 h 478353"/>
              <a:gd name="connsiteX6" fmla="*/ 0 w 12192162"/>
              <a:gd name="connsiteY6" fmla="*/ 478353 h 4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162" h="478353">
                <a:moveTo>
                  <a:pt x="0" y="0"/>
                </a:moveTo>
                <a:lnTo>
                  <a:pt x="897812" y="1844"/>
                </a:lnTo>
                <a:lnTo>
                  <a:pt x="1389496" y="3614"/>
                </a:lnTo>
                <a:cubicBezTo>
                  <a:pt x="2155312" y="11961"/>
                  <a:pt x="1782436" y="218903"/>
                  <a:pt x="3218751" y="218417"/>
                </a:cubicBezTo>
                <a:lnTo>
                  <a:pt x="12192162" y="224407"/>
                </a:lnTo>
                <a:cubicBezTo>
                  <a:pt x="12192108" y="309056"/>
                  <a:pt x="12192053" y="393704"/>
                  <a:pt x="12191999" y="478353"/>
                </a:cubicBezTo>
                <a:lnTo>
                  <a:pt x="0" y="47835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73" name="Retângulo 4">
            <a:extLst>
              <a:ext uri="{FF2B5EF4-FFF2-40B4-BE49-F238E27FC236}">
                <a16:creationId xmlns:a16="http://schemas.microsoft.com/office/drawing/2014/main" id="{4CA31EBD-D983-0D40-99CA-101EB48A6E6D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4" name="Retângulo 5">
            <a:extLst>
              <a:ext uri="{FF2B5EF4-FFF2-40B4-BE49-F238E27FC236}">
                <a16:creationId xmlns:a16="http://schemas.microsoft.com/office/drawing/2014/main" id="{29D49441-9231-A442-8561-2384BADE4378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5" name="Retângulo 6">
            <a:extLst>
              <a:ext uri="{FF2B5EF4-FFF2-40B4-BE49-F238E27FC236}">
                <a16:creationId xmlns:a16="http://schemas.microsoft.com/office/drawing/2014/main" id="{F7640527-FE94-5349-811E-A2E910A8136C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6" name="Retângulo 7">
            <a:extLst>
              <a:ext uri="{FF2B5EF4-FFF2-40B4-BE49-F238E27FC236}">
                <a16:creationId xmlns:a16="http://schemas.microsoft.com/office/drawing/2014/main" id="{3B638C98-8153-084F-BC91-FF9A132098AF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7" name="Retângulo 8">
            <a:extLst>
              <a:ext uri="{FF2B5EF4-FFF2-40B4-BE49-F238E27FC236}">
                <a16:creationId xmlns:a16="http://schemas.microsoft.com/office/drawing/2014/main" id="{6884A18B-D2C7-6240-8842-51A144CF341C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8" name="Retângulo 9">
            <a:extLst>
              <a:ext uri="{FF2B5EF4-FFF2-40B4-BE49-F238E27FC236}">
                <a16:creationId xmlns:a16="http://schemas.microsoft.com/office/drawing/2014/main" id="{24C46CAB-AC79-FB44-9FE5-10BE6CD36186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9" name="Retângulo 10">
            <a:extLst>
              <a:ext uri="{FF2B5EF4-FFF2-40B4-BE49-F238E27FC236}">
                <a16:creationId xmlns:a16="http://schemas.microsoft.com/office/drawing/2014/main" id="{A90F9425-5A51-3B4F-8146-65B58B0D7858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0" name="Retângulo 11">
            <a:extLst>
              <a:ext uri="{FF2B5EF4-FFF2-40B4-BE49-F238E27FC236}">
                <a16:creationId xmlns:a16="http://schemas.microsoft.com/office/drawing/2014/main" id="{206BCEC6-DDEC-3A4A-8632-AE5121D85535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1" name="Retângulo 12">
            <a:extLst>
              <a:ext uri="{FF2B5EF4-FFF2-40B4-BE49-F238E27FC236}">
                <a16:creationId xmlns:a16="http://schemas.microsoft.com/office/drawing/2014/main" id="{2D82E554-646B-AC40-92DB-034DC637D8B8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2" name="Retângulo 13">
            <a:extLst>
              <a:ext uri="{FF2B5EF4-FFF2-40B4-BE49-F238E27FC236}">
                <a16:creationId xmlns:a16="http://schemas.microsoft.com/office/drawing/2014/main" id="{4DC6A1B2-4201-9E4C-87B2-C5F15A8F3ED3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3" name="Retângulo 14">
            <a:extLst>
              <a:ext uri="{FF2B5EF4-FFF2-40B4-BE49-F238E27FC236}">
                <a16:creationId xmlns:a16="http://schemas.microsoft.com/office/drawing/2014/main" id="{724AB98E-4D47-B647-A7F8-0F4CB9AB3982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grpSp>
        <p:nvGrpSpPr>
          <p:cNvPr id="85" name="Agrupar 23">
            <a:extLst>
              <a:ext uri="{FF2B5EF4-FFF2-40B4-BE49-F238E27FC236}">
                <a16:creationId xmlns:a16="http://schemas.microsoft.com/office/drawing/2014/main" id="{BCC86B30-B864-644F-86E9-2CFAEEF4ABD1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86" name="Freeform 25">
              <a:extLst>
                <a:ext uri="{FF2B5EF4-FFF2-40B4-BE49-F238E27FC236}">
                  <a16:creationId xmlns:a16="http://schemas.microsoft.com/office/drawing/2014/main" id="{496BD72D-3597-E44C-80B1-6951BA663D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7" name="Freeform 26">
              <a:extLst>
                <a:ext uri="{FF2B5EF4-FFF2-40B4-BE49-F238E27FC236}">
                  <a16:creationId xmlns:a16="http://schemas.microsoft.com/office/drawing/2014/main" id="{55047C3C-36EB-6347-AA6B-9A13F136F3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8" name="Oval 27">
              <a:extLst>
                <a:ext uri="{FF2B5EF4-FFF2-40B4-BE49-F238E27FC236}">
                  <a16:creationId xmlns:a16="http://schemas.microsoft.com/office/drawing/2014/main" id="{DBE74293-5892-5444-BE81-DB43C760EB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9" name="Freeform 14">
              <a:extLst>
                <a:ext uri="{FF2B5EF4-FFF2-40B4-BE49-F238E27FC236}">
                  <a16:creationId xmlns:a16="http://schemas.microsoft.com/office/drawing/2014/main" id="{CE800642-7001-594F-BC78-7ED00ADBD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90" name="Freeform 13">
              <a:extLst>
                <a:ext uri="{FF2B5EF4-FFF2-40B4-BE49-F238E27FC236}">
                  <a16:creationId xmlns:a16="http://schemas.microsoft.com/office/drawing/2014/main" id="{9A16EB83-A922-0443-9C4F-3F94AF7C49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4BB6D95F-A503-4C20-97E3-94719DC9CA48}"/>
              </a:ext>
            </a:extLst>
          </p:cNvPr>
          <p:cNvSpPr txBox="1"/>
          <p:nvPr userDrawn="1"/>
        </p:nvSpPr>
        <p:spPr>
          <a:xfrm>
            <a:off x="9078048" y="1166265"/>
            <a:ext cx="2836080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120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ONCLUSÃO SOLUÇÃO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2018B6C5-5EBC-422F-A4EA-BE5B831EED4D}"/>
              </a:ext>
            </a:extLst>
          </p:cNvPr>
          <p:cNvSpPr txBox="1"/>
          <p:nvPr userDrawn="1"/>
        </p:nvSpPr>
        <p:spPr>
          <a:xfrm>
            <a:off x="1117957" y="1166265"/>
            <a:ext cx="7880062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INICIATIVA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4A0EFFE6-81B7-413A-94E2-6242F33B7FC5}"/>
              </a:ext>
            </a:extLst>
          </p:cNvPr>
          <p:cNvSpPr txBox="1"/>
          <p:nvPr userDrawn="1"/>
        </p:nvSpPr>
        <p:spPr>
          <a:xfrm>
            <a:off x="329721" y="1166265"/>
            <a:ext cx="684000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AFCA7175-6D77-4DFD-A1AB-661129966444}"/>
              </a:ext>
            </a:extLst>
          </p:cNvPr>
          <p:cNvGrpSpPr/>
          <p:nvPr userDrawn="1"/>
        </p:nvGrpSpPr>
        <p:grpSpPr>
          <a:xfrm>
            <a:off x="213993" y="153865"/>
            <a:ext cx="2422652" cy="648000"/>
            <a:chOff x="467544" y="987575"/>
            <a:chExt cx="2422652" cy="648000"/>
          </a:xfrm>
        </p:grpSpPr>
        <p:grpSp>
          <p:nvGrpSpPr>
            <p:cNvPr id="48" name="Agrupar 47">
              <a:extLst>
                <a:ext uri="{FF2B5EF4-FFF2-40B4-BE49-F238E27FC236}">
                  <a16:creationId xmlns:a16="http://schemas.microsoft.com/office/drawing/2014/main" id="{B569C1E6-C48B-4D81-AB44-746F040D0AF8}"/>
                </a:ext>
              </a:extLst>
            </p:cNvPr>
            <p:cNvGrpSpPr/>
            <p:nvPr userDrawn="1"/>
          </p:nvGrpSpPr>
          <p:grpSpPr>
            <a:xfrm>
              <a:off x="467544" y="987575"/>
              <a:ext cx="2422652" cy="648000"/>
              <a:chOff x="4676775" y="4572347"/>
              <a:chExt cx="2811116" cy="743703"/>
            </a:xfrm>
          </p:grpSpPr>
          <p:sp>
            <p:nvSpPr>
              <p:cNvPr id="50" name="Freeform 25">
                <a:extLst>
                  <a:ext uri="{FF2B5EF4-FFF2-40B4-BE49-F238E27FC236}">
                    <a16:creationId xmlns:a16="http://schemas.microsoft.com/office/drawing/2014/main" id="{AC1139D6-A2BA-488C-9462-D5ABDDB50A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42835" y="4753832"/>
                <a:ext cx="1008063" cy="434975"/>
              </a:xfrm>
              <a:custGeom>
                <a:avLst/>
                <a:gdLst>
                  <a:gd name="T0" fmla="*/ 0 w 2770"/>
                  <a:gd name="T1" fmla="*/ 1198 h 1198"/>
                  <a:gd name="T2" fmla="*/ 232 w 2770"/>
                  <a:gd name="T3" fmla="*/ 0 h 1198"/>
                  <a:gd name="T4" fmla="*/ 879 w 2770"/>
                  <a:gd name="T5" fmla="*/ 0 h 1198"/>
                  <a:gd name="T6" fmla="*/ 852 w 2770"/>
                  <a:gd name="T7" fmla="*/ 133 h 1198"/>
                  <a:gd name="T8" fmla="*/ 361 w 2770"/>
                  <a:gd name="T9" fmla="*/ 133 h 1198"/>
                  <a:gd name="T10" fmla="*/ 287 w 2770"/>
                  <a:gd name="T11" fmla="*/ 515 h 1198"/>
                  <a:gd name="T12" fmla="*/ 731 w 2770"/>
                  <a:gd name="T13" fmla="*/ 515 h 1198"/>
                  <a:gd name="T14" fmla="*/ 705 w 2770"/>
                  <a:gd name="T15" fmla="*/ 648 h 1198"/>
                  <a:gd name="T16" fmla="*/ 263 w 2770"/>
                  <a:gd name="T17" fmla="*/ 648 h 1198"/>
                  <a:gd name="T18" fmla="*/ 182 w 2770"/>
                  <a:gd name="T19" fmla="*/ 1065 h 1198"/>
                  <a:gd name="T20" fmla="*/ 690 w 2770"/>
                  <a:gd name="T21" fmla="*/ 1065 h 1198"/>
                  <a:gd name="T22" fmla="*/ 663 w 2770"/>
                  <a:gd name="T23" fmla="*/ 1198 h 1198"/>
                  <a:gd name="T24" fmla="*/ 0 w 2770"/>
                  <a:gd name="T25" fmla="*/ 1198 h 1198"/>
                  <a:gd name="T26" fmla="*/ 810 w 2770"/>
                  <a:gd name="T27" fmla="*/ 1198 h 1198"/>
                  <a:gd name="T28" fmla="*/ 1291 w 2770"/>
                  <a:gd name="T29" fmla="*/ 569 h 1198"/>
                  <a:gd name="T30" fmla="*/ 1062 w 2770"/>
                  <a:gd name="T31" fmla="*/ 0 h 1198"/>
                  <a:gd name="T32" fmla="*/ 1232 w 2770"/>
                  <a:gd name="T33" fmla="*/ 0 h 1198"/>
                  <a:gd name="T34" fmla="*/ 1394 w 2770"/>
                  <a:gd name="T35" fmla="*/ 445 h 1198"/>
                  <a:gd name="T36" fmla="*/ 1727 w 2770"/>
                  <a:gd name="T37" fmla="*/ 0 h 1198"/>
                  <a:gd name="T38" fmla="*/ 1890 w 2770"/>
                  <a:gd name="T39" fmla="*/ 0 h 1198"/>
                  <a:gd name="T40" fmla="*/ 1453 w 2770"/>
                  <a:gd name="T41" fmla="*/ 569 h 1198"/>
                  <a:gd name="T42" fmla="*/ 1703 w 2770"/>
                  <a:gd name="T43" fmla="*/ 1198 h 1198"/>
                  <a:gd name="T44" fmla="*/ 1532 w 2770"/>
                  <a:gd name="T45" fmla="*/ 1198 h 1198"/>
                  <a:gd name="T46" fmla="*/ 1348 w 2770"/>
                  <a:gd name="T47" fmla="*/ 693 h 1198"/>
                  <a:gd name="T48" fmla="*/ 972 w 2770"/>
                  <a:gd name="T49" fmla="*/ 1198 h 1198"/>
                  <a:gd name="T50" fmla="*/ 810 w 2770"/>
                  <a:gd name="T51" fmla="*/ 1198 h 1198"/>
                  <a:gd name="T52" fmla="*/ 2143 w 2770"/>
                  <a:gd name="T53" fmla="*/ 594 h 1198"/>
                  <a:gd name="T54" fmla="*/ 2341 w 2770"/>
                  <a:gd name="T55" fmla="*/ 594 h 1198"/>
                  <a:gd name="T56" fmla="*/ 2516 w 2770"/>
                  <a:gd name="T57" fmla="*/ 546 h 1198"/>
                  <a:gd name="T58" fmla="*/ 2604 w 2770"/>
                  <a:gd name="T59" fmla="*/ 386 h 1198"/>
                  <a:gd name="T60" fmla="*/ 2610 w 2770"/>
                  <a:gd name="T61" fmla="*/ 347 h 1198"/>
                  <a:gd name="T62" fmla="*/ 2612 w 2770"/>
                  <a:gd name="T63" fmla="*/ 310 h 1198"/>
                  <a:gd name="T64" fmla="*/ 2561 w 2770"/>
                  <a:gd name="T65" fmla="*/ 177 h 1198"/>
                  <a:gd name="T66" fmla="*/ 2397 w 2770"/>
                  <a:gd name="T67" fmla="*/ 129 h 1198"/>
                  <a:gd name="T68" fmla="*/ 2231 w 2770"/>
                  <a:gd name="T69" fmla="*/ 129 h 1198"/>
                  <a:gd name="T70" fmla="*/ 2143 w 2770"/>
                  <a:gd name="T71" fmla="*/ 594 h 1198"/>
                  <a:gd name="T72" fmla="*/ 1867 w 2770"/>
                  <a:gd name="T73" fmla="*/ 1198 h 1198"/>
                  <a:gd name="T74" fmla="*/ 2098 w 2770"/>
                  <a:gd name="T75" fmla="*/ 0 h 1198"/>
                  <a:gd name="T76" fmla="*/ 2435 w 2770"/>
                  <a:gd name="T77" fmla="*/ 0 h 1198"/>
                  <a:gd name="T78" fmla="*/ 2685 w 2770"/>
                  <a:gd name="T79" fmla="*/ 82 h 1198"/>
                  <a:gd name="T80" fmla="*/ 2770 w 2770"/>
                  <a:gd name="T81" fmla="*/ 302 h 1198"/>
                  <a:gd name="T82" fmla="*/ 2767 w 2770"/>
                  <a:gd name="T83" fmla="*/ 344 h 1198"/>
                  <a:gd name="T84" fmla="*/ 2762 w 2770"/>
                  <a:gd name="T85" fmla="*/ 387 h 1198"/>
                  <a:gd name="T86" fmla="*/ 2704 w 2770"/>
                  <a:gd name="T87" fmla="*/ 545 h 1198"/>
                  <a:gd name="T88" fmla="*/ 2605 w 2770"/>
                  <a:gd name="T89" fmla="*/ 648 h 1198"/>
                  <a:gd name="T90" fmla="*/ 2475 w 2770"/>
                  <a:gd name="T91" fmla="*/ 705 h 1198"/>
                  <a:gd name="T92" fmla="*/ 2327 w 2770"/>
                  <a:gd name="T93" fmla="*/ 722 h 1198"/>
                  <a:gd name="T94" fmla="*/ 2116 w 2770"/>
                  <a:gd name="T95" fmla="*/ 722 h 1198"/>
                  <a:gd name="T96" fmla="*/ 2025 w 2770"/>
                  <a:gd name="T97" fmla="*/ 1198 h 1198"/>
                  <a:gd name="T98" fmla="*/ 1867 w 2770"/>
                  <a:gd name="T99" fmla="*/ 1198 h 1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770" h="1198">
                    <a:moveTo>
                      <a:pt x="0" y="1198"/>
                    </a:moveTo>
                    <a:lnTo>
                      <a:pt x="232" y="0"/>
                    </a:lnTo>
                    <a:lnTo>
                      <a:pt x="879" y="0"/>
                    </a:lnTo>
                    <a:lnTo>
                      <a:pt x="852" y="133"/>
                    </a:lnTo>
                    <a:lnTo>
                      <a:pt x="361" y="133"/>
                    </a:lnTo>
                    <a:lnTo>
                      <a:pt x="287" y="515"/>
                    </a:lnTo>
                    <a:lnTo>
                      <a:pt x="731" y="515"/>
                    </a:lnTo>
                    <a:lnTo>
                      <a:pt x="705" y="648"/>
                    </a:lnTo>
                    <a:lnTo>
                      <a:pt x="263" y="648"/>
                    </a:lnTo>
                    <a:lnTo>
                      <a:pt x="182" y="1065"/>
                    </a:lnTo>
                    <a:lnTo>
                      <a:pt x="690" y="1065"/>
                    </a:lnTo>
                    <a:lnTo>
                      <a:pt x="663" y="1198"/>
                    </a:lnTo>
                    <a:lnTo>
                      <a:pt x="0" y="1198"/>
                    </a:lnTo>
                    <a:close/>
                    <a:moveTo>
                      <a:pt x="810" y="1198"/>
                    </a:moveTo>
                    <a:lnTo>
                      <a:pt x="1291" y="569"/>
                    </a:lnTo>
                    <a:lnTo>
                      <a:pt x="1062" y="0"/>
                    </a:lnTo>
                    <a:lnTo>
                      <a:pt x="1232" y="0"/>
                    </a:lnTo>
                    <a:lnTo>
                      <a:pt x="1394" y="445"/>
                    </a:lnTo>
                    <a:lnTo>
                      <a:pt x="1727" y="0"/>
                    </a:lnTo>
                    <a:lnTo>
                      <a:pt x="1890" y="0"/>
                    </a:lnTo>
                    <a:lnTo>
                      <a:pt x="1453" y="569"/>
                    </a:lnTo>
                    <a:lnTo>
                      <a:pt x="1703" y="1198"/>
                    </a:lnTo>
                    <a:lnTo>
                      <a:pt x="1532" y="1198"/>
                    </a:lnTo>
                    <a:lnTo>
                      <a:pt x="1348" y="693"/>
                    </a:lnTo>
                    <a:lnTo>
                      <a:pt x="972" y="1198"/>
                    </a:lnTo>
                    <a:lnTo>
                      <a:pt x="810" y="1198"/>
                    </a:lnTo>
                    <a:close/>
                    <a:moveTo>
                      <a:pt x="2143" y="594"/>
                    </a:moveTo>
                    <a:lnTo>
                      <a:pt x="2341" y="594"/>
                    </a:lnTo>
                    <a:cubicBezTo>
                      <a:pt x="2415" y="594"/>
                      <a:pt x="2473" y="578"/>
                      <a:pt x="2516" y="546"/>
                    </a:cubicBezTo>
                    <a:cubicBezTo>
                      <a:pt x="2560" y="515"/>
                      <a:pt x="2589" y="461"/>
                      <a:pt x="2604" y="386"/>
                    </a:cubicBezTo>
                    <a:cubicBezTo>
                      <a:pt x="2606" y="372"/>
                      <a:pt x="2608" y="360"/>
                      <a:pt x="2610" y="347"/>
                    </a:cubicBezTo>
                    <a:cubicBezTo>
                      <a:pt x="2611" y="334"/>
                      <a:pt x="2612" y="322"/>
                      <a:pt x="2612" y="310"/>
                    </a:cubicBezTo>
                    <a:cubicBezTo>
                      <a:pt x="2612" y="253"/>
                      <a:pt x="2595" y="209"/>
                      <a:pt x="2561" y="177"/>
                    </a:cubicBezTo>
                    <a:cubicBezTo>
                      <a:pt x="2526" y="145"/>
                      <a:pt x="2472" y="129"/>
                      <a:pt x="2397" y="129"/>
                    </a:cubicBezTo>
                    <a:lnTo>
                      <a:pt x="2231" y="129"/>
                    </a:lnTo>
                    <a:lnTo>
                      <a:pt x="2143" y="594"/>
                    </a:lnTo>
                    <a:close/>
                    <a:moveTo>
                      <a:pt x="1867" y="1198"/>
                    </a:moveTo>
                    <a:lnTo>
                      <a:pt x="2098" y="0"/>
                    </a:lnTo>
                    <a:lnTo>
                      <a:pt x="2435" y="0"/>
                    </a:lnTo>
                    <a:cubicBezTo>
                      <a:pt x="2544" y="0"/>
                      <a:pt x="2628" y="27"/>
                      <a:pt x="2685" y="82"/>
                    </a:cubicBezTo>
                    <a:cubicBezTo>
                      <a:pt x="2741" y="137"/>
                      <a:pt x="2770" y="210"/>
                      <a:pt x="2770" y="302"/>
                    </a:cubicBezTo>
                    <a:cubicBezTo>
                      <a:pt x="2770" y="316"/>
                      <a:pt x="2769" y="330"/>
                      <a:pt x="2767" y="344"/>
                    </a:cubicBezTo>
                    <a:cubicBezTo>
                      <a:pt x="2766" y="357"/>
                      <a:pt x="2764" y="372"/>
                      <a:pt x="2762" y="387"/>
                    </a:cubicBezTo>
                    <a:cubicBezTo>
                      <a:pt x="2751" y="450"/>
                      <a:pt x="2732" y="502"/>
                      <a:pt x="2704" y="545"/>
                    </a:cubicBezTo>
                    <a:cubicBezTo>
                      <a:pt x="2677" y="588"/>
                      <a:pt x="2644" y="622"/>
                      <a:pt x="2605" y="648"/>
                    </a:cubicBezTo>
                    <a:cubicBezTo>
                      <a:pt x="2566" y="675"/>
                      <a:pt x="2523" y="693"/>
                      <a:pt x="2475" y="705"/>
                    </a:cubicBezTo>
                    <a:cubicBezTo>
                      <a:pt x="2428" y="716"/>
                      <a:pt x="2378" y="722"/>
                      <a:pt x="2327" y="722"/>
                    </a:cubicBezTo>
                    <a:lnTo>
                      <a:pt x="2116" y="722"/>
                    </a:lnTo>
                    <a:lnTo>
                      <a:pt x="2025" y="1198"/>
                    </a:lnTo>
                    <a:lnTo>
                      <a:pt x="1867" y="119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36" tIns="45719" rIns="91436" bIns="4571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4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79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51" name="Freeform 26">
                <a:extLst>
                  <a:ext uri="{FF2B5EF4-FFF2-40B4-BE49-F238E27FC236}">
                    <a16:creationId xmlns:a16="http://schemas.microsoft.com/office/drawing/2014/main" id="{B16463C6-3C2A-433F-A3C8-D96C695067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8892" y="4736263"/>
                <a:ext cx="888999" cy="441325"/>
              </a:xfrm>
              <a:custGeom>
                <a:avLst/>
                <a:gdLst>
                  <a:gd name="T0" fmla="*/ 270 w 2440"/>
                  <a:gd name="T1" fmla="*/ 282 h 1216"/>
                  <a:gd name="T2" fmla="*/ 41 w 2440"/>
                  <a:gd name="T3" fmla="*/ 121 h 1216"/>
                  <a:gd name="T4" fmla="*/ 364 w 2440"/>
                  <a:gd name="T5" fmla="*/ 28 h 1216"/>
                  <a:gd name="T6" fmla="*/ 604 w 2440"/>
                  <a:gd name="T7" fmla="*/ 15 h 1216"/>
                  <a:gd name="T8" fmla="*/ 91 w 2440"/>
                  <a:gd name="T9" fmla="*/ 1198 h 1216"/>
                  <a:gd name="T10" fmla="*/ 815 w 2440"/>
                  <a:gd name="T11" fmla="*/ 1107 h 1216"/>
                  <a:gd name="T12" fmla="*/ 751 w 2440"/>
                  <a:gd name="T13" fmla="*/ 847 h 1216"/>
                  <a:gd name="T14" fmla="*/ 769 w 2440"/>
                  <a:gd name="T15" fmla="*/ 633 h 1216"/>
                  <a:gd name="T16" fmla="*/ 942 w 2440"/>
                  <a:gd name="T17" fmla="*/ 145 h 1216"/>
                  <a:gd name="T18" fmla="*/ 1250 w 2440"/>
                  <a:gd name="T19" fmla="*/ 0 h 1216"/>
                  <a:gd name="T20" fmla="*/ 1500 w 2440"/>
                  <a:gd name="T21" fmla="*/ 111 h 1216"/>
                  <a:gd name="T22" fmla="*/ 1563 w 2440"/>
                  <a:gd name="T23" fmla="*/ 371 h 1216"/>
                  <a:gd name="T24" fmla="*/ 1545 w 2440"/>
                  <a:gd name="T25" fmla="*/ 583 h 1216"/>
                  <a:gd name="T26" fmla="*/ 1367 w 2440"/>
                  <a:gd name="T27" fmla="*/ 1078 h 1216"/>
                  <a:gd name="T28" fmla="*/ 1064 w 2440"/>
                  <a:gd name="T29" fmla="*/ 1216 h 1216"/>
                  <a:gd name="T30" fmla="*/ 1033 w 2440"/>
                  <a:gd name="T31" fmla="*/ 944 h 1216"/>
                  <a:gd name="T32" fmla="*/ 1147 w 2440"/>
                  <a:gd name="T33" fmla="*/ 954 h 1216"/>
                  <a:gd name="T34" fmla="*/ 1226 w 2440"/>
                  <a:gd name="T35" fmla="*/ 789 h 1216"/>
                  <a:gd name="T36" fmla="*/ 1289 w 2440"/>
                  <a:gd name="T37" fmla="*/ 463 h 1216"/>
                  <a:gd name="T38" fmla="*/ 1278 w 2440"/>
                  <a:gd name="T39" fmla="*/ 273 h 1216"/>
                  <a:gd name="T40" fmla="*/ 1164 w 2440"/>
                  <a:gd name="T41" fmla="*/ 259 h 1216"/>
                  <a:gd name="T42" fmla="*/ 1087 w 2440"/>
                  <a:gd name="T43" fmla="*/ 421 h 1216"/>
                  <a:gd name="T44" fmla="*/ 1024 w 2440"/>
                  <a:gd name="T45" fmla="*/ 755 h 1216"/>
                  <a:gd name="T46" fmla="*/ 1033 w 2440"/>
                  <a:gd name="T47" fmla="*/ 944 h 1216"/>
                  <a:gd name="T48" fmla="*/ 1691 w 2440"/>
                  <a:gd name="T49" fmla="*/ 1107 h 1216"/>
                  <a:gd name="T50" fmla="*/ 1627 w 2440"/>
                  <a:gd name="T51" fmla="*/ 847 h 1216"/>
                  <a:gd name="T52" fmla="*/ 1645 w 2440"/>
                  <a:gd name="T53" fmla="*/ 633 h 1216"/>
                  <a:gd name="T54" fmla="*/ 1819 w 2440"/>
                  <a:gd name="T55" fmla="*/ 145 h 1216"/>
                  <a:gd name="T56" fmla="*/ 2126 w 2440"/>
                  <a:gd name="T57" fmla="*/ 0 h 1216"/>
                  <a:gd name="T58" fmla="*/ 2377 w 2440"/>
                  <a:gd name="T59" fmla="*/ 111 h 1216"/>
                  <a:gd name="T60" fmla="*/ 2440 w 2440"/>
                  <a:gd name="T61" fmla="*/ 371 h 1216"/>
                  <a:gd name="T62" fmla="*/ 2422 w 2440"/>
                  <a:gd name="T63" fmla="*/ 583 h 1216"/>
                  <a:gd name="T64" fmla="*/ 2244 w 2440"/>
                  <a:gd name="T65" fmla="*/ 1078 h 1216"/>
                  <a:gd name="T66" fmla="*/ 1941 w 2440"/>
                  <a:gd name="T67" fmla="*/ 1216 h 1216"/>
                  <a:gd name="T68" fmla="*/ 1910 w 2440"/>
                  <a:gd name="T69" fmla="*/ 944 h 1216"/>
                  <a:gd name="T70" fmla="*/ 2024 w 2440"/>
                  <a:gd name="T71" fmla="*/ 954 h 1216"/>
                  <a:gd name="T72" fmla="*/ 2103 w 2440"/>
                  <a:gd name="T73" fmla="*/ 789 h 1216"/>
                  <a:gd name="T74" fmla="*/ 2166 w 2440"/>
                  <a:gd name="T75" fmla="*/ 463 h 1216"/>
                  <a:gd name="T76" fmla="*/ 2155 w 2440"/>
                  <a:gd name="T77" fmla="*/ 273 h 1216"/>
                  <a:gd name="T78" fmla="*/ 2041 w 2440"/>
                  <a:gd name="T79" fmla="*/ 259 h 1216"/>
                  <a:gd name="T80" fmla="*/ 1964 w 2440"/>
                  <a:gd name="T81" fmla="*/ 421 h 1216"/>
                  <a:gd name="T82" fmla="*/ 1901 w 2440"/>
                  <a:gd name="T83" fmla="*/ 755 h 1216"/>
                  <a:gd name="T84" fmla="*/ 1910 w 2440"/>
                  <a:gd name="T85" fmla="*/ 944 h 1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40" h="1216">
                    <a:moveTo>
                      <a:pt x="91" y="1198"/>
                    </a:moveTo>
                    <a:lnTo>
                      <a:pt x="270" y="282"/>
                    </a:lnTo>
                    <a:lnTo>
                      <a:pt x="0" y="328"/>
                    </a:lnTo>
                    <a:lnTo>
                      <a:pt x="41" y="121"/>
                    </a:lnTo>
                    <a:lnTo>
                      <a:pt x="256" y="56"/>
                    </a:lnTo>
                    <a:cubicBezTo>
                      <a:pt x="289" y="46"/>
                      <a:pt x="325" y="36"/>
                      <a:pt x="364" y="28"/>
                    </a:cubicBezTo>
                    <a:cubicBezTo>
                      <a:pt x="403" y="19"/>
                      <a:pt x="442" y="15"/>
                      <a:pt x="483" y="15"/>
                    </a:cubicBezTo>
                    <a:lnTo>
                      <a:pt x="604" y="15"/>
                    </a:lnTo>
                    <a:lnTo>
                      <a:pt x="373" y="1198"/>
                    </a:lnTo>
                    <a:lnTo>
                      <a:pt x="91" y="1198"/>
                    </a:lnTo>
                    <a:close/>
                    <a:moveTo>
                      <a:pt x="910" y="1187"/>
                    </a:moveTo>
                    <a:cubicBezTo>
                      <a:pt x="870" y="1167"/>
                      <a:pt x="839" y="1141"/>
                      <a:pt x="815" y="1107"/>
                    </a:cubicBezTo>
                    <a:cubicBezTo>
                      <a:pt x="791" y="1074"/>
                      <a:pt x="774" y="1035"/>
                      <a:pt x="765" y="990"/>
                    </a:cubicBezTo>
                    <a:cubicBezTo>
                      <a:pt x="755" y="945"/>
                      <a:pt x="751" y="897"/>
                      <a:pt x="751" y="847"/>
                    </a:cubicBezTo>
                    <a:cubicBezTo>
                      <a:pt x="751" y="812"/>
                      <a:pt x="752" y="776"/>
                      <a:pt x="755" y="740"/>
                    </a:cubicBezTo>
                    <a:cubicBezTo>
                      <a:pt x="759" y="704"/>
                      <a:pt x="763" y="669"/>
                      <a:pt x="769" y="633"/>
                    </a:cubicBezTo>
                    <a:cubicBezTo>
                      <a:pt x="786" y="519"/>
                      <a:pt x="809" y="421"/>
                      <a:pt x="838" y="341"/>
                    </a:cubicBezTo>
                    <a:cubicBezTo>
                      <a:pt x="867" y="261"/>
                      <a:pt x="902" y="196"/>
                      <a:pt x="942" y="145"/>
                    </a:cubicBezTo>
                    <a:cubicBezTo>
                      <a:pt x="982" y="94"/>
                      <a:pt x="1027" y="57"/>
                      <a:pt x="1079" y="34"/>
                    </a:cubicBezTo>
                    <a:cubicBezTo>
                      <a:pt x="1130" y="11"/>
                      <a:pt x="1187" y="0"/>
                      <a:pt x="1250" y="0"/>
                    </a:cubicBezTo>
                    <a:cubicBezTo>
                      <a:pt x="1312" y="0"/>
                      <a:pt x="1364" y="10"/>
                      <a:pt x="1404" y="30"/>
                    </a:cubicBezTo>
                    <a:cubicBezTo>
                      <a:pt x="1445" y="50"/>
                      <a:pt x="1477" y="77"/>
                      <a:pt x="1500" y="111"/>
                    </a:cubicBezTo>
                    <a:cubicBezTo>
                      <a:pt x="1524" y="145"/>
                      <a:pt x="1540" y="185"/>
                      <a:pt x="1549" y="230"/>
                    </a:cubicBezTo>
                    <a:cubicBezTo>
                      <a:pt x="1559" y="274"/>
                      <a:pt x="1563" y="322"/>
                      <a:pt x="1563" y="371"/>
                    </a:cubicBezTo>
                    <a:cubicBezTo>
                      <a:pt x="1563" y="406"/>
                      <a:pt x="1562" y="441"/>
                      <a:pt x="1558" y="477"/>
                    </a:cubicBezTo>
                    <a:cubicBezTo>
                      <a:pt x="1555" y="512"/>
                      <a:pt x="1551" y="548"/>
                      <a:pt x="1545" y="583"/>
                    </a:cubicBezTo>
                    <a:cubicBezTo>
                      <a:pt x="1527" y="702"/>
                      <a:pt x="1502" y="802"/>
                      <a:pt x="1472" y="883"/>
                    </a:cubicBezTo>
                    <a:cubicBezTo>
                      <a:pt x="1442" y="964"/>
                      <a:pt x="1407" y="1029"/>
                      <a:pt x="1367" y="1078"/>
                    </a:cubicBezTo>
                    <a:cubicBezTo>
                      <a:pt x="1327" y="1128"/>
                      <a:pt x="1282" y="1163"/>
                      <a:pt x="1231" y="1184"/>
                    </a:cubicBezTo>
                    <a:cubicBezTo>
                      <a:pt x="1180" y="1206"/>
                      <a:pt x="1124" y="1216"/>
                      <a:pt x="1064" y="1216"/>
                    </a:cubicBezTo>
                    <a:cubicBezTo>
                      <a:pt x="1002" y="1216"/>
                      <a:pt x="950" y="1206"/>
                      <a:pt x="910" y="1187"/>
                    </a:cubicBezTo>
                    <a:close/>
                    <a:moveTo>
                      <a:pt x="1033" y="944"/>
                    </a:moveTo>
                    <a:cubicBezTo>
                      <a:pt x="1045" y="960"/>
                      <a:pt x="1065" y="968"/>
                      <a:pt x="1094" y="968"/>
                    </a:cubicBezTo>
                    <a:cubicBezTo>
                      <a:pt x="1114" y="968"/>
                      <a:pt x="1132" y="963"/>
                      <a:pt x="1147" y="954"/>
                    </a:cubicBezTo>
                    <a:cubicBezTo>
                      <a:pt x="1162" y="944"/>
                      <a:pt x="1176" y="926"/>
                      <a:pt x="1189" y="899"/>
                    </a:cubicBezTo>
                    <a:cubicBezTo>
                      <a:pt x="1202" y="873"/>
                      <a:pt x="1214" y="837"/>
                      <a:pt x="1226" y="789"/>
                    </a:cubicBezTo>
                    <a:cubicBezTo>
                      <a:pt x="1237" y="742"/>
                      <a:pt x="1250" y="682"/>
                      <a:pt x="1264" y="607"/>
                    </a:cubicBezTo>
                    <a:cubicBezTo>
                      <a:pt x="1275" y="551"/>
                      <a:pt x="1284" y="503"/>
                      <a:pt x="1289" y="463"/>
                    </a:cubicBezTo>
                    <a:cubicBezTo>
                      <a:pt x="1295" y="422"/>
                      <a:pt x="1297" y="388"/>
                      <a:pt x="1297" y="359"/>
                    </a:cubicBezTo>
                    <a:cubicBezTo>
                      <a:pt x="1297" y="320"/>
                      <a:pt x="1291" y="291"/>
                      <a:pt x="1278" y="273"/>
                    </a:cubicBezTo>
                    <a:cubicBezTo>
                      <a:pt x="1266" y="255"/>
                      <a:pt x="1245" y="246"/>
                      <a:pt x="1215" y="246"/>
                    </a:cubicBezTo>
                    <a:cubicBezTo>
                      <a:pt x="1195" y="246"/>
                      <a:pt x="1179" y="250"/>
                      <a:pt x="1164" y="259"/>
                    </a:cubicBezTo>
                    <a:cubicBezTo>
                      <a:pt x="1150" y="268"/>
                      <a:pt x="1137" y="285"/>
                      <a:pt x="1124" y="311"/>
                    </a:cubicBezTo>
                    <a:cubicBezTo>
                      <a:pt x="1111" y="337"/>
                      <a:pt x="1099" y="373"/>
                      <a:pt x="1087" y="421"/>
                    </a:cubicBezTo>
                    <a:cubicBezTo>
                      <a:pt x="1075" y="468"/>
                      <a:pt x="1062" y="531"/>
                      <a:pt x="1048" y="607"/>
                    </a:cubicBezTo>
                    <a:cubicBezTo>
                      <a:pt x="1038" y="664"/>
                      <a:pt x="1030" y="713"/>
                      <a:pt x="1024" y="755"/>
                    </a:cubicBezTo>
                    <a:cubicBezTo>
                      <a:pt x="1018" y="797"/>
                      <a:pt x="1015" y="832"/>
                      <a:pt x="1015" y="860"/>
                    </a:cubicBezTo>
                    <a:cubicBezTo>
                      <a:pt x="1015" y="898"/>
                      <a:pt x="1021" y="926"/>
                      <a:pt x="1033" y="944"/>
                    </a:cubicBezTo>
                    <a:close/>
                    <a:moveTo>
                      <a:pt x="1787" y="1187"/>
                    </a:moveTo>
                    <a:cubicBezTo>
                      <a:pt x="1747" y="1167"/>
                      <a:pt x="1715" y="1141"/>
                      <a:pt x="1691" y="1107"/>
                    </a:cubicBezTo>
                    <a:cubicBezTo>
                      <a:pt x="1667" y="1074"/>
                      <a:pt x="1651" y="1035"/>
                      <a:pt x="1641" y="990"/>
                    </a:cubicBezTo>
                    <a:cubicBezTo>
                      <a:pt x="1632" y="945"/>
                      <a:pt x="1627" y="897"/>
                      <a:pt x="1627" y="847"/>
                    </a:cubicBezTo>
                    <a:cubicBezTo>
                      <a:pt x="1627" y="812"/>
                      <a:pt x="1629" y="776"/>
                      <a:pt x="1632" y="740"/>
                    </a:cubicBezTo>
                    <a:cubicBezTo>
                      <a:pt x="1635" y="704"/>
                      <a:pt x="1640" y="669"/>
                      <a:pt x="1645" y="633"/>
                    </a:cubicBezTo>
                    <a:cubicBezTo>
                      <a:pt x="1663" y="519"/>
                      <a:pt x="1686" y="421"/>
                      <a:pt x="1715" y="341"/>
                    </a:cubicBezTo>
                    <a:cubicBezTo>
                      <a:pt x="1744" y="261"/>
                      <a:pt x="1779" y="196"/>
                      <a:pt x="1819" y="145"/>
                    </a:cubicBezTo>
                    <a:cubicBezTo>
                      <a:pt x="1859" y="94"/>
                      <a:pt x="1904" y="57"/>
                      <a:pt x="1956" y="34"/>
                    </a:cubicBezTo>
                    <a:cubicBezTo>
                      <a:pt x="2007" y="11"/>
                      <a:pt x="2064" y="0"/>
                      <a:pt x="2126" y="0"/>
                    </a:cubicBezTo>
                    <a:cubicBezTo>
                      <a:pt x="2189" y="0"/>
                      <a:pt x="2240" y="10"/>
                      <a:pt x="2281" y="30"/>
                    </a:cubicBezTo>
                    <a:cubicBezTo>
                      <a:pt x="2321" y="50"/>
                      <a:pt x="2353" y="77"/>
                      <a:pt x="2377" y="111"/>
                    </a:cubicBezTo>
                    <a:cubicBezTo>
                      <a:pt x="2400" y="145"/>
                      <a:pt x="2417" y="185"/>
                      <a:pt x="2426" y="230"/>
                    </a:cubicBezTo>
                    <a:cubicBezTo>
                      <a:pt x="2435" y="274"/>
                      <a:pt x="2440" y="322"/>
                      <a:pt x="2440" y="371"/>
                    </a:cubicBezTo>
                    <a:cubicBezTo>
                      <a:pt x="2440" y="406"/>
                      <a:pt x="2438" y="441"/>
                      <a:pt x="2435" y="477"/>
                    </a:cubicBezTo>
                    <a:cubicBezTo>
                      <a:pt x="2432" y="512"/>
                      <a:pt x="2427" y="548"/>
                      <a:pt x="2422" y="583"/>
                    </a:cubicBezTo>
                    <a:cubicBezTo>
                      <a:pt x="2403" y="702"/>
                      <a:pt x="2379" y="802"/>
                      <a:pt x="2349" y="883"/>
                    </a:cubicBezTo>
                    <a:cubicBezTo>
                      <a:pt x="2319" y="964"/>
                      <a:pt x="2284" y="1029"/>
                      <a:pt x="2244" y="1078"/>
                    </a:cubicBezTo>
                    <a:cubicBezTo>
                      <a:pt x="2204" y="1128"/>
                      <a:pt x="2158" y="1163"/>
                      <a:pt x="2108" y="1184"/>
                    </a:cubicBezTo>
                    <a:cubicBezTo>
                      <a:pt x="2057" y="1206"/>
                      <a:pt x="2001" y="1216"/>
                      <a:pt x="1941" y="1216"/>
                    </a:cubicBezTo>
                    <a:cubicBezTo>
                      <a:pt x="1878" y="1216"/>
                      <a:pt x="1827" y="1206"/>
                      <a:pt x="1787" y="1187"/>
                    </a:cubicBezTo>
                    <a:close/>
                    <a:moveTo>
                      <a:pt x="1910" y="944"/>
                    </a:moveTo>
                    <a:cubicBezTo>
                      <a:pt x="1922" y="960"/>
                      <a:pt x="1942" y="968"/>
                      <a:pt x="1970" y="968"/>
                    </a:cubicBezTo>
                    <a:cubicBezTo>
                      <a:pt x="1991" y="968"/>
                      <a:pt x="2009" y="963"/>
                      <a:pt x="2024" y="954"/>
                    </a:cubicBezTo>
                    <a:cubicBezTo>
                      <a:pt x="2039" y="944"/>
                      <a:pt x="2053" y="926"/>
                      <a:pt x="2066" y="899"/>
                    </a:cubicBezTo>
                    <a:cubicBezTo>
                      <a:pt x="2079" y="873"/>
                      <a:pt x="2091" y="837"/>
                      <a:pt x="2103" y="789"/>
                    </a:cubicBezTo>
                    <a:cubicBezTo>
                      <a:pt x="2114" y="742"/>
                      <a:pt x="2127" y="682"/>
                      <a:pt x="2141" y="607"/>
                    </a:cubicBezTo>
                    <a:cubicBezTo>
                      <a:pt x="2152" y="551"/>
                      <a:pt x="2160" y="503"/>
                      <a:pt x="2166" y="463"/>
                    </a:cubicBezTo>
                    <a:cubicBezTo>
                      <a:pt x="2171" y="422"/>
                      <a:pt x="2174" y="388"/>
                      <a:pt x="2174" y="359"/>
                    </a:cubicBezTo>
                    <a:cubicBezTo>
                      <a:pt x="2174" y="320"/>
                      <a:pt x="2168" y="291"/>
                      <a:pt x="2155" y="273"/>
                    </a:cubicBezTo>
                    <a:cubicBezTo>
                      <a:pt x="2143" y="255"/>
                      <a:pt x="2121" y="246"/>
                      <a:pt x="2092" y="246"/>
                    </a:cubicBezTo>
                    <a:cubicBezTo>
                      <a:pt x="2072" y="246"/>
                      <a:pt x="2055" y="250"/>
                      <a:pt x="2041" y="259"/>
                    </a:cubicBezTo>
                    <a:cubicBezTo>
                      <a:pt x="2027" y="268"/>
                      <a:pt x="2013" y="285"/>
                      <a:pt x="2001" y="311"/>
                    </a:cubicBezTo>
                    <a:cubicBezTo>
                      <a:pt x="1988" y="337"/>
                      <a:pt x="1976" y="373"/>
                      <a:pt x="1964" y="421"/>
                    </a:cubicBezTo>
                    <a:cubicBezTo>
                      <a:pt x="1952" y="468"/>
                      <a:pt x="1939" y="531"/>
                      <a:pt x="1924" y="607"/>
                    </a:cubicBezTo>
                    <a:cubicBezTo>
                      <a:pt x="1915" y="664"/>
                      <a:pt x="1907" y="713"/>
                      <a:pt x="1901" y="755"/>
                    </a:cubicBezTo>
                    <a:cubicBezTo>
                      <a:pt x="1895" y="797"/>
                      <a:pt x="1892" y="832"/>
                      <a:pt x="1892" y="860"/>
                    </a:cubicBezTo>
                    <a:cubicBezTo>
                      <a:pt x="1892" y="898"/>
                      <a:pt x="1898" y="926"/>
                      <a:pt x="1910" y="944"/>
                    </a:cubicBezTo>
                    <a:close/>
                  </a:path>
                </a:pathLst>
              </a:custGeom>
              <a:solidFill>
                <a:srgbClr val="00B2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36" tIns="45719" rIns="91436" bIns="4571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4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799" b="0" i="0" u="none" strike="noStrike" kern="0" cap="none" spc="0" normalizeH="0" baseline="0" noProof="0">
                  <a:ln>
                    <a:noFill/>
                  </a:ln>
                  <a:solidFill>
                    <a:srgbClr val="00B2A9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52" name="Oval 27">
                <a:extLst>
                  <a:ext uri="{FF2B5EF4-FFF2-40B4-BE49-F238E27FC236}">
                    <a16:creationId xmlns:a16="http://schemas.microsoft.com/office/drawing/2014/main" id="{AB488016-E70F-4E9F-9F7F-BA36829384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76775" y="4572347"/>
                <a:ext cx="793677" cy="743703"/>
              </a:xfrm>
              <a:prstGeom prst="ellipse">
                <a:avLst/>
              </a:prstGeom>
              <a:solidFill>
                <a:srgbClr val="00B2A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36" tIns="45719" rIns="91436" bIns="4571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4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799" b="0" i="0" u="none" strike="noStrike" kern="0" cap="none" spc="0" normalizeH="0" baseline="0" noProof="0">
                  <a:ln>
                    <a:noFill/>
                  </a:ln>
                  <a:solidFill>
                    <a:srgbClr val="00B2A9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</p:grpSp>
        <mc:AlternateContent xmlns:mc="http://schemas.openxmlformats.org/markup-compatibility/2006">
          <mc:Choice xmlns:am3d="http://schemas.microsoft.com/office/drawing/2017/model3d" Requires="am3d">
            <p:graphicFrame>
              <p:nvGraphicFramePr>
                <p:cNvPr id="49" name="Espaço Reservado para Conteúdo 14">
                  <a:extLst>
                    <a:ext uri="{FF2B5EF4-FFF2-40B4-BE49-F238E27FC236}">
                      <a16:creationId xmlns:a16="http://schemas.microsoft.com/office/drawing/2014/main" id="{C067050F-01D3-4A5F-8020-4714DB22FFF1}"/>
                    </a:ext>
                  </a:extLst>
                </p:cNvPr>
                <p:cNvGraphicFramePr>
                  <a:graphicFrameLocks noChangeAspect="1"/>
                </p:cNvGraphicFramePr>
                <p:nvPr userDrawn="1"/>
              </p:nvGraphicFramePr>
              <p:xfrm>
                <a:off x="539552" y="1011467"/>
                <a:ext cx="535595" cy="600217"/>
              </p:xfrm>
              <a:graphic>
                <a:graphicData uri="http://schemas.microsoft.com/office/drawing/2017/model3d">
                  <am3d:model3d r:embed="rId2">
                    <am3d:spPr>
                      <a:xfrm>
                        <a:off x="0" y="0"/>
                        <a:ext cx="535595" cy="600217"/>
                      </a:xfrm>
                      <a:prstGeom prst="rect">
                        <a:avLst/>
                      </a:prstGeom>
                    </am3d:spPr>
                    <am3d:camera>
                      <am3d:pos x="0" y="0" z="81469184"/>
                      <am3d:up dx="0" dy="36000000" dz="0"/>
                      <am3d:lookAt x="0" y="0" z="0"/>
                      <am3d:perspective fov="2700000"/>
                    </am3d:camera>
                    <am3d:trans>
                      <am3d:meterPerModelUnit n="466093" d="1000000"/>
                      <am3d:preTrans dx="-36352141" dy="-16847072" dz="-217484733"/>
                      <am3d:scale>
                        <am3d:sx n="1000000" d="1000000"/>
                        <am3d:sy n="1000000" d="1000000"/>
                        <am3d:sz n="1000000" d="1000000"/>
                      </am3d:scale>
                      <am3d:rot ax="9102163" ay="1685958" az="9905867"/>
                      <am3d:postTrans dx="0" dy="0" dz="0"/>
                    </am3d:trans>
                    <am3d:raster rName="Office3DRenderer" rVer="16.0.8326">
                      <am3d:blip r:embed="rId3"/>
                    </am3d:raster>
                    <am3d:objViewport viewportSz="618195"/>
                    <am3d:ambientLight>
                      <am3d:clr>
                        <a:scrgbClr r="50000" g="50000" b="50000"/>
                      </am3d:clr>
                      <am3d:illuminance n="500000" d="1000000"/>
                    </am3d:ambientLight>
                    <am3d:ptLight rad="0">
                      <am3d:clr>
                        <a:scrgbClr r="100000" g="75000" b="50000"/>
                      </am3d:clr>
                      <am3d:intensity n="9765625" d="1000000"/>
                      <am3d:pos x="21959998" y="70920001" z="16344003"/>
                    </am3d:ptLight>
                    <am3d:ptLight rad="0">
                      <am3d:clr>
                        <a:scrgbClr r="40000" g="60000" b="95000"/>
                      </am3d:clr>
                      <am3d:intensity n="12250000" d="1000000"/>
                      <am3d:pos x="-37964106" y="51130435" z="57631972"/>
                    </am3d:ptLight>
                    <am3d:ptLight rad="0">
                      <am3d:clr>
                        <a:scrgbClr r="86837" g="72700" b="100000"/>
                      </am3d:clr>
                      <am3d:intensity n="3125000" d="1000000"/>
                      <am3d:pos x="-37739122" y="58056624" z="-34769649"/>
                    </am3d:ptLight>
                  </am3d:model3d>
                </a:graphicData>
              </a:graphic>
            </p:graphicFrame>
          </mc:Choice>
          <mc:Fallback>
            <p:pic>
              <p:nvPicPr>
                <p:cNvPr id="49" name="Espaço Reservado para Conteúdo 14">
                  <a:extLst>
                    <a:ext uri="{FF2B5EF4-FFF2-40B4-BE49-F238E27FC236}">
                      <a16:creationId xmlns:a16="http://schemas.microsoft.com/office/drawing/2014/main" id="{C067050F-01D3-4A5F-8020-4714DB22FFF1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286001" y="177757"/>
                  <a:ext cx="535595" cy="600217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8F207D08-7FE5-47BE-BCFD-4782F4F69A75}"/>
              </a:ext>
            </a:extLst>
          </p:cNvPr>
          <p:cNvSpPr txBox="1"/>
          <p:nvPr userDrawn="1"/>
        </p:nvSpPr>
        <p:spPr>
          <a:xfrm>
            <a:off x="329721" y="1893087"/>
            <a:ext cx="2836080" cy="408680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SOLUÇÃ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97E9BBDD-E6F0-4FA1-A0AA-35E4B8C6AEC4}"/>
              </a:ext>
            </a:extLst>
          </p:cNvPr>
          <p:cNvSpPr txBox="1"/>
          <p:nvPr userDrawn="1"/>
        </p:nvSpPr>
        <p:spPr>
          <a:xfrm>
            <a:off x="3245830" y="1893087"/>
            <a:ext cx="2836080" cy="408680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DIFERENCI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b="0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3705865F-EB83-40C6-A397-D5ECC1436A92}"/>
              </a:ext>
            </a:extLst>
          </p:cNvPr>
          <p:cNvSpPr txBox="1"/>
          <p:nvPr userDrawn="1"/>
        </p:nvSpPr>
        <p:spPr>
          <a:xfrm>
            <a:off x="6161939" y="1893087"/>
            <a:ext cx="2836080" cy="408680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RESULTADOS ESPERADO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b="0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2DB1616D-AC2D-4CAC-AB50-07D4B46CA107}"/>
              </a:ext>
            </a:extLst>
          </p:cNvPr>
          <p:cNvSpPr txBox="1"/>
          <p:nvPr userDrawn="1"/>
        </p:nvSpPr>
        <p:spPr>
          <a:xfrm>
            <a:off x="9078048" y="1893087"/>
            <a:ext cx="2836080" cy="408680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RISCO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grpSp>
        <p:nvGrpSpPr>
          <p:cNvPr id="59" name="Agrupar 58">
            <a:extLst>
              <a:ext uri="{FF2B5EF4-FFF2-40B4-BE49-F238E27FC236}">
                <a16:creationId xmlns:a16="http://schemas.microsoft.com/office/drawing/2014/main" id="{503CA035-2DEC-4187-9DB2-ECB834A47C17}"/>
              </a:ext>
            </a:extLst>
          </p:cNvPr>
          <p:cNvGrpSpPr/>
          <p:nvPr userDrawn="1"/>
        </p:nvGrpSpPr>
        <p:grpSpPr>
          <a:xfrm>
            <a:off x="6648574" y="6243272"/>
            <a:ext cx="5712270" cy="539026"/>
            <a:chOff x="6648574" y="6243272"/>
            <a:chExt cx="5712270" cy="539026"/>
          </a:xfrm>
        </p:grpSpPr>
        <p:grpSp>
          <p:nvGrpSpPr>
            <p:cNvPr id="60" name="Agrupar 59">
              <a:extLst>
                <a:ext uri="{FF2B5EF4-FFF2-40B4-BE49-F238E27FC236}">
                  <a16:creationId xmlns:a16="http://schemas.microsoft.com/office/drawing/2014/main" id="{C6B0F095-C0DF-4A2B-B75D-04B955030246}"/>
                </a:ext>
              </a:extLst>
            </p:cNvPr>
            <p:cNvGrpSpPr/>
            <p:nvPr/>
          </p:nvGrpSpPr>
          <p:grpSpPr>
            <a:xfrm>
              <a:off x="6648574" y="6243272"/>
              <a:ext cx="5712270" cy="539026"/>
              <a:chOff x="4365606" y="269074"/>
              <a:chExt cx="4764273" cy="539026"/>
            </a:xfrm>
          </p:grpSpPr>
          <p:cxnSp>
            <p:nvCxnSpPr>
              <p:cNvPr id="62" name="Conector reto 16">
                <a:extLst>
                  <a:ext uri="{FF2B5EF4-FFF2-40B4-BE49-F238E27FC236}">
                    <a16:creationId xmlns:a16="http://schemas.microsoft.com/office/drawing/2014/main" id="{798FD16C-D7EE-4347-B3E7-FBAC1C1B8B9B}"/>
                  </a:ext>
                </a:extLst>
              </p:cNvPr>
              <p:cNvCxnSpPr>
                <a:cxnSpLocks/>
                <a:endCxn id="71" idx="2"/>
              </p:cNvCxnSpPr>
              <p:nvPr/>
            </p:nvCxnSpPr>
            <p:spPr>
              <a:xfrm>
                <a:off x="5807452" y="406186"/>
                <a:ext cx="2732160" cy="13776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Fluxograma: Conector 17">
                <a:extLst>
                  <a:ext uri="{FF2B5EF4-FFF2-40B4-BE49-F238E27FC236}">
                    <a16:creationId xmlns:a16="http://schemas.microsoft.com/office/drawing/2014/main" id="{27C0A9DC-491B-4E58-9B82-14EA1D73E9D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334" y="280185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Fluxograma: Conector 20">
                <a:extLst>
                  <a:ext uri="{FF2B5EF4-FFF2-40B4-BE49-F238E27FC236}">
                    <a16:creationId xmlns:a16="http://schemas.microsoft.com/office/drawing/2014/main" id="{7F829698-7297-4022-9BD3-35C4C912A62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800775" y="270845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CaixaDeTexto 64">
                <a:extLst>
                  <a:ext uri="{FF2B5EF4-FFF2-40B4-BE49-F238E27FC236}">
                    <a16:creationId xmlns:a16="http://schemas.microsoft.com/office/drawing/2014/main" id="{3545B6F8-2C0C-4F2E-8AFB-954FC82A5215}"/>
                  </a:ext>
                </a:extLst>
              </p:cNvPr>
              <p:cNvSpPr txBox="1"/>
              <p:nvPr/>
            </p:nvSpPr>
            <p:spPr>
              <a:xfrm>
                <a:off x="5347952" y="558125"/>
                <a:ext cx="83469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95000"/>
                      </a:prstClr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Ideação</a:t>
                </a:r>
              </a:p>
            </p:txBody>
          </p:sp>
          <p:sp>
            <p:nvSpPr>
              <p:cNvPr id="66" name="CaixaDeTexto 65">
                <a:extLst>
                  <a:ext uri="{FF2B5EF4-FFF2-40B4-BE49-F238E27FC236}">
                    <a16:creationId xmlns:a16="http://schemas.microsoft.com/office/drawing/2014/main" id="{FA5BE3CD-C486-4E40-BB8D-5B420BEB5A93}"/>
                  </a:ext>
                </a:extLst>
              </p:cNvPr>
              <p:cNvSpPr txBox="1"/>
              <p:nvPr/>
            </p:nvSpPr>
            <p:spPr>
              <a:xfrm>
                <a:off x="6089375" y="558125"/>
                <a:ext cx="61375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95000"/>
                      </a:prstClr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Pesquisa</a:t>
                </a:r>
              </a:p>
            </p:txBody>
          </p:sp>
          <p:sp>
            <p:nvSpPr>
              <p:cNvPr id="67" name="CaixaDeTexto 66">
                <a:extLst>
                  <a:ext uri="{FF2B5EF4-FFF2-40B4-BE49-F238E27FC236}">
                    <a16:creationId xmlns:a16="http://schemas.microsoft.com/office/drawing/2014/main" id="{CEF484FB-92CC-45E3-B87F-F0B8380EB2F9}"/>
                  </a:ext>
                </a:extLst>
              </p:cNvPr>
              <p:cNvSpPr txBox="1"/>
              <p:nvPr/>
            </p:nvSpPr>
            <p:spPr>
              <a:xfrm>
                <a:off x="6636974" y="558125"/>
                <a:ext cx="93882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95000"/>
                      </a:prstClr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Experimentação</a:t>
                </a:r>
              </a:p>
            </p:txBody>
          </p:sp>
          <p:sp>
            <p:nvSpPr>
              <p:cNvPr id="68" name="CaixaDeTexto 67">
                <a:extLst>
                  <a:ext uri="{FF2B5EF4-FFF2-40B4-BE49-F238E27FC236}">
                    <a16:creationId xmlns:a16="http://schemas.microsoft.com/office/drawing/2014/main" id="{D687A6C7-FFE8-4A11-B5C5-C3B324281D82}"/>
                  </a:ext>
                </a:extLst>
              </p:cNvPr>
              <p:cNvSpPr txBox="1"/>
              <p:nvPr/>
            </p:nvSpPr>
            <p:spPr>
              <a:xfrm>
                <a:off x="4365606" y="318367"/>
                <a:ext cx="970855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FASE DO PRODUTO</a:t>
                </a:r>
              </a:p>
            </p:txBody>
          </p:sp>
          <p:sp>
            <p:nvSpPr>
              <p:cNvPr id="69" name="Fluxograma: Conector 19">
                <a:extLst>
                  <a:ext uri="{FF2B5EF4-FFF2-40B4-BE49-F238E27FC236}">
                    <a16:creationId xmlns:a16="http://schemas.microsoft.com/office/drawing/2014/main" id="{61141EB2-2F94-48AF-B895-214CDE4B26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91892" y="269074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0" name="CaixaDeTexto 69">
                <a:extLst>
                  <a:ext uri="{FF2B5EF4-FFF2-40B4-BE49-F238E27FC236}">
                    <a16:creationId xmlns:a16="http://schemas.microsoft.com/office/drawing/2014/main" id="{C7BF895A-53E1-4364-ADE5-D2EDF41051FC}"/>
                  </a:ext>
                </a:extLst>
              </p:cNvPr>
              <p:cNvSpPr txBox="1"/>
              <p:nvPr/>
            </p:nvSpPr>
            <p:spPr>
              <a:xfrm>
                <a:off x="7461140" y="560930"/>
                <a:ext cx="93882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95000"/>
                      </a:prstClr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Implementação</a:t>
                </a:r>
              </a:p>
            </p:txBody>
          </p:sp>
          <p:sp>
            <p:nvSpPr>
              <p:cNvPr id="71" name="Fluxograma: Conector 20">
                <a:extLst>
                  <a:ext uri="{FF2B5EF4-FFF2-40B4-BE49-F238E27FC236}">
                    <a16:creationId xmlns:a16="http://schemas.microsoft.com/office/drawing/2014/main" id="{AC3D0A76-5993-4E1B-AC80-45328C5B2F4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539612" y="275962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CaixaDeTexto 71">
                <a:extLst>
                  <a:ext uri="{FF2B5EF4-FFF2-40B4-BE49-F238E27FC236}">
                    <a16:creationId xmlns:a16="http://schemas.microsoft.com/office/drawing/2014/main" id="{F8EC2C32-7481-4D8A-AEA7-650EFE53B272}"/>
                  </a:ext>
                </a:extLst>
              </p:cNvPr>
              <p:cNvSpPr txBox="1"/>
              <p:nvPr/>
            </p:nvSpPr>
            <p:spPr>
              <a:xfrm>
                <a:off x="8191059" y="561879"/>
                <a:ext cx="93882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95000"/>
                      </a:prstClr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Ativação</a:t>
                </a:r>
              </a:p>
            </p:txBody>
          </p:sp>
          <p:sp>
            <p:nvSpPr>
              <p:cNvPr id="84" name="Fluxograma: Conector 19">
                <a:extLst>
                  <a:ext uri="{FF2B5EF4-FFF2-40B4-BE49-F238E27FC236}">
                    <a16:creationId xmlns:a16="http://schemas.microsoft.com/office/drawing/2014/main" id="{6E4EE595-D0A5-4CAD-8BA2-77D630BDB2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970135" y="269074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cxnSp>
          <p:nvCxnSpPr>
            <p:cNvPr id="61" name="Conector reto 60">
              <a:extLst>
                <a:ext uri="{FF2B5EF4-FFF2-40B4-BE49-F238E27FC236}">
                  <a16:creationId xmlns:a16="http://schemas.microsoft.com/office/drawing/2014/main" id="{7AE777B2-6E0C-4796-B70A-C0392EE6EDAB}"/>
                </a:ext>
              </a:extLst>
            </p:cNvPr>
            <p:cNvCxnSpPr/>
            <p:nvPr/>
          </p:nvCxnSpPr>
          <p:spPr>
            <a:xfrm>
              <a:off x="7811872" y="6302365"/>
              <a:ext cx="0" cy="413038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Retângulo 90">
            <a:extLst>
              <a:ext uri="{FF2B5EF4-FFF2-40B4-BE49-F238E27FC236}">
                <a16:creationId xmlns:a16="http://schemas.microsoft.com/office/drawing/2014/main" id="{A4C538BC-1B9A-456F-893E-A7B4708AF98E}"/>
              </a:ext>
            </a:extLst>
          </p:cNvPr>
          <p:cNvSpPr/>
          <p:nvPr userDrawn="1"/>
        </p:nvSpPr>
        <p:spPr>
          <a:xfrm>
            <a:off x="300515" y="5241110"/>
            <a:ext cx="11628126" cy="753293"/>
          </a:xfrm>
          <a:prstGeom prst="rect">
            <a:avLst/>
          </a:prstGeom>
          <a:solidFill>
            <a:srgbClr val="006298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3" name="Gráfico 92" descr="Diamante com preenchimento sólido">
            <a:extLst>
              <a:ext uri="{FF2B5EF4-FFF2-40B4-BE49-F238E27FC236}">
                <a16:creationId xmlns:a16="http://schemas.microsoft.com/office/drawing/2014/main" id="{8D613C7F-E61B-4049-B9C8-2143FA04E1A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86758" y="5282307"/>
            <a:ext cx="648000" cy="648000"/>
          </a:xfrm>
          <a:prstGeom prst="rect">
            <a:avLst/>
          </a:prstGeom>
        </p:spPr>
      </p:pic>
      <p:pic>
        <p:nvPicPr>
          <p:cNvPr id="94" name="Gráfico 93" descr="Na mosca com preenchimento sólido">
            <a:extLst>
              <a:ext uri="{FF2B5EF4-FFF2-40B4-BE49-F238E27FC236}">
                <a16:creationId xmlns:a16="http://schemas.microsoft.com/office/drawing/2014/main" id="{FE93AB3B-8810-4251-A8CB-A4EB1F3652E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80142" y="5282307"/>
            <a:ext cx="648000" cy="648000"/>
          </a:xfrm>
          <a:prstGeom prst="rect">
            <a:avLst/>
          </a:prstGeom>
        </p:spPr>
      </p:pic>
      <p:pic>
        <p:nvPicPr>
          <p:cNvPr id="95" name="Gráfico 94" descr="Aviso com preenchimento sólido">
            <a:extLst>
              <a:ext uri="{FF2B5EF4-FFF2-40B4-BE49-F238E27FC236}">
                <a16:creationId xmlns:a16="http://schemas.microsoft.com/office/drawing/2014/main" id="{C8CBD99F-2452-4049-84DD-494977CB8D5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73527" y="5282307"/>
            <a:ext cx="648000" cy="648000"/>
          </a:xfrm>
          <a:prstGeom prst="rect">
            <a:avLst/>
          </a:prstGeom>
        </p:spPr>
      </p:pic>
      <p:pic>
        <p:nvPicPr>
          <p:cNvPr id="96" name="Gráfico 95" descr="Caixa de embalagem aberta com preenchimento sólido">
            <a:extLst>
              <a:ext uri="{FF2B5EF4-FFF2-40B4-BE49-F238E27FC236}">
                <a16:creationId xmlns:a16="http://schemas.microsoft.com/office/drawing/2014/main" id="{94169B08-89E3-4169-8B8B-BCD66397159F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493374" y="5282307"/>
            <a:ext cx="648000" cy="648000"/>
          </a:xfrm>
          <a:prstGeom prst="rect">
            <a:avLst/>
          </a:prstGeom>
        </p:spPr>
      </p:pic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C116DF3-926B-446C-BF00-E038DFED8A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721" y="2432712"/>
            <a:ext cx="2836080" cy="2475870"/>
          </a:xfrm>
        </p:spPr>
        <p:txBody>
          <a:bodyPr>
            <a:noAutofit/>
          </a:bodyPr>
          <a:lstStyle>
            <a:lvl1pPr marL="0">
              <a:buNone/>
              <a:defRPr sz="1600" b="1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X</a:t>
            </a:r>
          </a:p>
        </p:txBody>
      </p:sp>
      <p:sp>
        <p:nvSpPr>
          <p:cNvPr id="97" name="Espaço Reservado para Texto 4">
            <a:extLst>
              <a:ext uri="{FF2B5EF4-FFF2-40B4-BE49-F238E27FC236}">
                <a16:creationId xmlns:a16="http://schemas.microsoft.com/office/drawing/2014/main" id="{7376BDEC-AA48-46E0-BF48-828869A64B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53087" y="2432712"/>
            <a:ext cx="2836080" cy="2475870"/>
          </a:xfrm>
        </p:spPr>
        <p:txBody>
          <a:bodyPr>
            <a:noAutofit/>
          </a:bodyPr>
          <a:lstStyle>
            <a:lvl1pPr marL="0">
              <a:buNone/>
              <a:defRPr sz="1600" b="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X</a:t>
            </a:r>
          </a:p>
        </p:txBody>
      </p:sp>
      <p:sp>
        <p:nvSpPr>
          <p:cNvPr id="98" name="Espaço Reservado para Texto 4">
            <a:extLst>
              <a:ext uri="{FF2B5EF4-FFF2-40B4-BE49-F238E27FC236}">
                <a16:creationId xmlns:a16="http://schemas.microsoft.com/office/drawing/2014/main" id="{9F5D0143-B8EE-40B1-AFC6-0D3B460E9E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63017" y="2432712"/>
            <a:ext cx="2836080" cy="2475870"/>
          </a:xfrm>
        </p:spPr>
        <p:txBody>
          <a:bodyPr>
            <a:noAutofit/>
          </a:bodyPr>
          <a:lstStyle>
            <a:lvl1pPr marL="0">
              <a:buFont typeface="Wingdings" panose="05000000000000000000" pitchFamily="2" charset="2"/>
              <a:buChar char="§"/>
              <a:defRPr sz="1600" b="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XFAJSFBKBJASFJK AKSJFBJKASBFKJASBFJK</a:t>
            </a:r>
          </a:p>
        </p:txBody>
      </p:sp>
      <p:sp>
        <p:nvSpPr>
          <p:cNvPr id="99" name="Espaço Reservado para Texto 4">
            <a:extLst>
              <a:ext uri="{FF2B5EF4-FFF2-40B4-BE49-F238E27FC236}">
                <a16:creationId xmlns:a16="http://schemas.microsoft.com/office/drawing/2014/main" id="{EAA49BBF-909A-489F-A39A-383186E736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84491" y="2432712"/>
            <a:ext cx="2836080" cy="2475870"/>
          </a:xfrm>
        </p:spPr>
        <p:txBody>
          <a:bodyPr>
            <a:noAutofit/>
          </a:bodyPr>
          <a:lstStyle>
            <a:lvl1pPr marL="0">
              <a:buFont typeface="Wingdings" panose="05000000000000000000" pitchFamily="2" charset="2"/>
              <a:buChar char="§"/>
              <a:defRPr sz="1600" b="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X ASFHASHFUASHF ASUFUIASFHIUASFH</a:t>
            </a:r>
          </a:p>
          <a:p>
            <a:pPr lvl="0"/>
            <a:r>
              <a:rPr lang="pt-BR"/>
              <a:t>ASFAISGFIUAS</a:t>
            </a:r>
          </a:p>
          <a:p>
            <a:pPr lvl="0"/>
            <a:r>
              <a:rPr lang="pt-BR"/>
              <a:t>ASFHASUHFUASHF AUSFHAUSHFOUIASH</a:t>
            </a:r>
          </a:p>
        </p:txBody>
      </p:sp>
      <p:sp>
        <p:nvSpPr>
          <p:cNvPr id="102" name="Espaço Reservado para Texto 4">
            <a:extLst>
              <a:ext uri="{FF2B5EF4-FFF2-40B4-BE49-F238E27FC236}">
                <a16:creationId xmlns:a16="http://schemas.microsoft.com/office/drawing/2014/main" id="{8C068473-2FC8-49CC-80EC-A540AE0BDB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4801" y="1500175"/>
            <a:ext cx="7880062" cy="248198"/>
          </a:xfrm>
        </p:spPr>
        <p:txBody>
          <a:bodyPr>
            <a:noAutofit/>
          </a:bodyPr>
          <a:lstStyle>
            <a:lvl1pPr marL="0">
              <a:buNone/>
              <a:defRPr sz="1600" b="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X</a:t>
            </a:r>
          </a:p>
        </p:txBody>
      </p:sp>
      <p:sp>
        <p:nvSpPr>
          <p:cNvPr id="103" name="Espaço Reservado para Texto 4">
            <a:extLst>
              <a:ext uri="{FF2B5EF4-FFF2-40B4-BE49-F238E27FC236}">
                <a16:creationId xmlns:a16="http://schemas.microsoft.com/office/drawing/2014/main" id="{5718C920-D16F-411E-B6AF-266D02FC5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074892" y="1500175"/>
            <a:ext cx="2844000" cy="248198"/>
          </a:xfrm>
        </p:spPr>
        <p:txBody>
          <a:bodyPr>
            <a:noAutofit/>
          </a:bodyPr>
          <a:lstStyle>
            <a:lvl1pPr marL="0">
              <a:buNone/>
              <a:defRPr sz="1600" b="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Mês/aa</a:t>
            </a:r>
          </a:p>
        </p:txBody>
      </p:sp>
      <p:pic>
        <p:nvPicPr>
          <p:cNvPr id="104" name="Imagem 103" descr="Texto, Logotipo&#10;&#10;Descrição gerada automaticamente">
            <a:extLst>
              <a:ext uri="{FF2B5EF4-FFF2-40B4-BE49-F238E27FC236}">
                <a16:creationId xmlns:a16="http://schemas.microsoft.com/office/drawing/2014/main" id="{E4209E04-FF9B-4656-942D-AFC33EDD0E6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402" y="190048"/>
            <a:ext cx="1487783" cy="377564"/>
          </a:xfrm>
          <a:prstGeom prst="rect">
            <a:avLst/>
          </a:prstGeom>
        </p:spPr>
      </p:pic>
      <p:sp>
        <p:nvSpPr>
          <p:cNvPr id="107" name="Espaço Reservado para Texto 4">
            <a:extLst>
              <a:ext uri="{FF2B5EF4-FFF2-40B4-BE49-F238E27FC236}">
                <a16:creationId xmlns:a16="http://schemas.microsoft.com/office/drawing/2014/main" id="{1E230416-F26A-4AB0-9647-C875F606B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747" y="1261135"/>
            <a:ext cx="630652" cy="458907"/>
          </a:xfrm>
        </p:spPr>
        <p:txBody>
          <a:bodyPr anchor="ctr">
            <a:noAutofit/>
          </a:bodyPr>
          <a:lstStyle>
            <a:lvl1pPr marL="0" algn="ctr">
              <a:buNone/>
              <a:defRPr sz="2000" b="1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545278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D934A9BF-9771-417F-822D-5B5E9D91A1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D934A9BF-9771-417F-822D-5B5E9D91A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17BE7229-59F6-42B4-97F9-32E38B444FE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0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6BDF928-695E-4750-890D-FE7E8DCF6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B4BD7F3-E34C-4EBB-A359-93592B5B33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D75F494-AADA-428B-8DB4-9A3B26AF03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FAA4D58-192A-4C79-8630-18B8AB434B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6FD799A-1999-4A5D-A918-669C1DDCF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CB1C7-BC24-4B1A-8401-3570DFE411D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332725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rma Livre: Forma 26">
            <a:extLst>
              <a:ext uri="{FF2B5EF4-FFF2-40B4-BE49-F238E27FC236}">
                <a16:creationId xmlns:a16="http://schemas.microsoft.com/office/drawing/2014/main" id="{F8514690-00D7-4B2F-A36C-40A6DE479167}"/>
              </a:ext>
            </a:extLst>
          </p:cNvPr>
          <p:cNvSpPr/>
          <p:nvPr userDrawn="1"/>
        </p:nvSpPr>
        <p:spPr>
          <a:xfrm>
            <a:off x="0" y="6379648"/>
            <a:ext cx="12192162" cy="478353"/>
          </a:xfrm>
          <a:custGeom>
            <a:avLst/>
            <a:gdLst>
              <a:gd name="connsiteX0" fmla="*/ 0 w 12192162"/>
              <a:gd name="connsiteY0" fmla="*/ 0 h 478353"/>
              <a:gd name="connsiteX1" fmla="*/ 897812 w 12192162"/>
              <a:gd name="connsiteY1" fmla="*/ 1844 h 478353"/>
              <a:gd name="connsiteX2" fmla="*/ 1389496 w 12192162"/>
              <a:gd name="connsiteY2" fmla="*/ 3614 h 478353"/>
              <a:gd name="connsiteX3" fmla="*/ 3218751 w 12192162"/>
              <a:gd name="connsiteY3" fmla="*/ 218417 h 478353"/>
              <a:gd name="connsiteX4" fmla="*/ 12192162 w 12192162"/>
              <a:gd name="connsiteY4" fmla="*/ 224407 h 478353"/>
              <a:gd name="connsiteX5" fmla="*/ 12191999 w 12192162"/>
              <a:gd name="connsiteY5" fmla="*/ 478353 h 478353"/>
              <a:gd name="connsiteX6" fmla="*/ 0 w 12192162"/>
              <a:gd name="connsiteY6" fmla="*/ 478353 h 4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162" h="478353">
                <a:moveTo>
                  <a:pt x="0" y="0"/>
                </a:moveTo>
                <a:lnTo>
                  <a:pt x="897812" y="1844"/>
                </a:lnTo>
                <a:lnTo>
                  <a:pt x="1389496" y="3614"/>
                </a:lnTo>
                <a:cubicBezTo>
                  <a:pt x="2155312" y="11961"/>
                  <a:pt x="1782436" y="218903"/>
                  <a:pt x="3218751" y="218417"/>
                </a:cubicBezTo>
                <a:lnTo>
                  <a:pt x="12192162" y="224407"/>
                </a:lnTo>
                <a:cubicBezTo>
                  <a:pt x="12192108" y="309056"/>
                  <a:pt x="12192053" y="393704"/>
                  <a:pt x="12191999" y="478353"/>
                </a:cubicBezTo>
                <a:lnTo>
                  <a:pt x="0" y="47835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73" name="Retângulo 4">
            <a:extLst>
              <a:ext uri="{FF2B5EF4-FFF2-40B4-BE49-F238E27FC236}">
                <a16:creationId xmlns:a16="http://schemas.microsoft.com/office/drawing/2014/main" id="{4CA31EBD-D983-0D40-99CA-101EB48A6E6D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4" name="Retângulo 5">
            <a:extLst>
              <a:ext uri="{FF2B5EF4-FFF2-40B4-BE49-F238E27FC236}">
                <a16:creationId xmlns:a16="http://schemas.microsoft.com/office/drawing/2014/main" id="{29D49441-9231-A442-8561-2384BADE4378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5" name="Retângulo 6">
            <a:extLst>
              <a:ext uri="{FF2B5EF4-FFF2-40B4-BE49-F238E27FC236}">
                <a16:creationId xmlns:a16="http://schemas.microsoft.com/office/drawing/2014/main" id="{F7640527-FE94-5349-811E-A2E910A8136C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6" name="Retângulo 7">
            <a:extLst>
              <a:ext uri="{FF2B5EF4-FFF2-40B4-BE49-F238E27FC236}">
                <a16:creationId xmlns:a16="http://schemas.microsoft.com/office/drawing/2014/main" id="{3B638C98-8153-084F-BC91-FF9A132098AF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7" name="Retângulo 8">
            <a:extLst>
              <a:ext uri="{FF2B5EF4-FFF2-40B4-BE49-F238E27FC236}">
                <a16:creationId xmlns:a16="http://schemas.microsoft.com/office/drawing/2014/main" id="{6884A18B-D2C7-6240-8842-51A144CF341C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8" name="Retângulo 9">
            <a:extLst>
              <a:ext uri="{FF2B5EF4-FFF2-40B4-BE49-F238E27FC236}">
                <a16:creationId xmlns:a16="http://schemas.microsoft.com/office/drawing/2014/main" id="{24C46CAB-AC79-FB44-9FE5-10BE6CD36186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9" name="Retângulo 10">
            <a:extLst>
              <a:ext uri="{FF2B5EF4-FFF2-40B4-BE49-F238E27FC236}">
                <a16:creationId xmlns:a16="http://schemas.microsoft.com/office/drawing/2014/main" id="{A90F9425-5A51-3B4F-8146-65B58B0D7858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0" name="Retângulo 11">
            <a:extLst>
              <a:ext uri="{FF2B5EF4-FFF2-40B4-BE49-F238E27FC236}">
                <a16:creationId xmlns:a16="http://schemas.microsoft.com/office/drawing/2014/main" id="{206BCEC6-DDEC-3A4A-8632-AE5121D85535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1" name="Retângulo 12">
            <a:extLst>
              <a:ext uri="{FF2B5EF4-FFF2-40B4-BE49-F238E27FC236}">
                <a16:creationId xmlns:a16="http://schemas.microsoft.com/office/drawing/2014/main" id="{2D82E554-646B-AC40-92DB-034DC637D8B8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2" name="Retângulo 13">
            <a:extLst>
              <a:ext uri="{FF2B5EF4-FFF2-40B4-BE49-F238E27FC236}">
                <a16:creationId xmlns:a16="http://schemas.microsoft.com/office/drawing/2014/main" id="{4DC6A1B2-4201-9E4C-87B2-C5F15A8F3ED3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3" name="Retângulo 14">
            <a:extLst>
              <a:ext uri="{FF2B5EF4-FFF2-40B4-BE49-F238E27FC236}">
                <a16:creationId xmlns:a16="http://schemas.microsoft.com/office/drawing/2014/main" id="{724AB98E-4D47-B647-A7F8-0F4CB9AB3982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grpSp>
        <p:nvGrpSpPr>
          <p:cNvPr id="85" name="Agrupar 23">
            <a:extLst>
              <a:ext uri="{FF2B5EF4-FFF2-40B4-BE49-F238E27FC236}">
                <a16:creationId xmlns:a16="http://schemas.microsoft.com/office/drawing/2014/main" id="{BCC86B30-B864-644F-86E9-2CFAEEF4ABD1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86" name="Freeform 25">
              <a:extLst>
                <a:ext uri="{FF2B5EF4-FFF2-40B4-BE49-F238E27FC236}">
                  <a16:creationId xmlns:a16="http://schemas.microsoft.com/office/drawing/2014/main" id="{496BD72D-3597-E44C-80B1-6951BA663D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7" name="Freeform 26">
              <a:extLst>
                <a:ext uri="{FF2B5EF4-FFF2-40B4-BE49-F238E27FC236}">
                  <a16:creationId xmlns:a16="http://schemas.microsoft.com/office/drawing/2014/main" id="{55047C3C-36EB-6347-AA6B-9A13F136F3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8" name="Oval 27">
              <a:extLst>
                <a:ext uri="{FF2B5EF4-FFF2-40B4-BE49-F238E27FC236}">
                  <a16:creationId xmlns:a16="http://schemas.microsoft.com/office/drawing/2014/main" id="{DBE74293-5892-5444-BE81-DB43C760EB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9" name="Freeform 14">
              <a:extLst>
                <a:ext uri="{FF2B5EF4-FFF2-40B4-BE49-F238E27FC236}">
                  <a16:creationId xmlns:a16="http://schemas.microsoft.com/office/drawing/2014/main" id="{CE800642-7001-594F-BC78-7ED00ADBD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90" name="Freeform 13">
              <a:extLst>
                <a:ext uri="{FF2B5EF4-FFF2-40B4-BE49-F238E27FC236}">
                  <a16:creationId xmlns:a16="http://schemas.microsoft.com/office/drawing/2014/main" id="{9A16EB83-A922-0443-9C4F-3F94AF7C49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8BE4D1BD-D2B3-46F5-9C5C-36461E44CF96}"/>
              </a:ext>
            </a:extLst>
          </p:cNvPr>
          <p:cNvSpPr/>
          <p:nvPr userDrawn="1"/>
        </p:nvSpPr>
        <p:spPr>
          <a:xfrm>
            <a:off x="0" y="0"/>
            <a:ext cx="12192000" cy="1119188"/>
          </a:xfrm>
          <a:prstGeom prst="rect">
            <a:avLst/>
          </a:prstGeom>
          <a:solidFill>
            <a:srgbClr val="0062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BC07F124-95A6-44AD-B2E6-398FDDFA83E5}"/>
              </a:ext>
            </a:extLst>
          </p:cNvPr>
          <p:cNvSpPr txBox="1"/>
          <p:nvPr userDrawn="1"/>
        </p:nvSpPr>
        <p:spPr>
          <a:xfrm>
            <a:off x="6548578" y="251865"/>
            <a:ext cx="5328000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SOLUÇÃO</a:t>
            </a:r>
            <a:endParaRPr kumimoji="0" lang="pt-BR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FD280BC4-4404-4945-9DE9-5065499516F3}"/>
              </a:ext>
            </a:extLst>
          </p:cNvPr>
          <p:cNvSpPr txBox="1"/>
          <p:nvPr userDrawn="1"/>
        </p:nvSpPr>
        <p:spPr>
          <a:xfrm>
            <a:off x="1117957" y="251865"/>
            <a:ext cx="5328000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INICIATIVA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232DAD2E-8EC9-4274-9D55-C2281B43790C}"/>
              </a:ext>
            </a:extLst>
          </p:cNvPr>
          <p:cNvSpPr txBox="1"/>
          <p:nvPr userDrawn="1"/>
        </p:nvSpPr>
        <p:spPr>
          <a:xfrm>
            <a:off x="329721" y="251865"/>
            <a:ext cx="684000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11B980F3-1E22-45CF-8E7E-AE55ED09137F}"/>
              </a:ext>
            </a:extLst>
          </p:cNvPr>
          <p:cNvGrpSpPr/>
          <p:nvPr userDrawn="1"/>
        </p:nvGrpSpPr>
        <p:grpSpPr>
          <a:xfrm>
            <a:off x="3500308" y="6067109"/>
            <a:ext cx="5712270" cy="539026"/>
            <a:chOff x="6648574" y="6243272"/>
            <a:chExt cx="5712270" cy="539026"/>
          </a:xfrm>
        </p:grpSpPr>
        <p:grpSp>
          <p:nvGrpSpPr>
            <p:cNvPr id="30" name="Agrupar 29">
              <a:extLst>
                <a:ext uri="{FF2B5EF4-FFF2-40B4-BE49-F238E27FC236}">
                  <a16:creationId xmlns:a16="http://schemas.microsoft.com/office/drawing/2014/main" id="{52BB32C1-1760-400A-A008-255263C8E99C}"/>
                </a:ext>
              </a:extLst>
            </p:cNvPr>
            <p:cNvGrpSpPr/>
            <p:nvPr/>
          </p:nvGrpSpPr>
          <p:grpSpPr>
            <a:xfrm>
              <a:off x="6648574" y="6243272"/>
              <a:ext cx="5712270" cy="539026"/>
              <a:chOff x="4365606" y="269074"/>
              <a:chExt cx="4764273" cy="539026"/>
            </a:xfrm>
          </p:grpSpPr>
          <p:cxnSp>
            <p:nvCxnSpPr>
              <p:cNvPr id="32" name="Conector reto 16">
                <a:extLst>
                  <a:ext uri="{FF2B5EF4-FFF2-40B4-BE49-F238E27FC236}">
                    <a16:creationId xmlns:a16="http://schemas.microsoft.com/office/drawing/2014/main" id="{F7D147E0-9C89-4C4D-A389-7CCC9847173E}"/>
                  </a:ext>
                </a:extLst>
              </p:cNvPr>
              <p:cNvCxnSpPr>
                <a:cxnSpLocks/>
                <a:endCxn id="41" idx="2"/>
              </p:cNvCxnSpPr>
              <p:nvPr/>
            </p:nvCxnSpPr>
            <p:spPr>
              <a:xfrm>
                <a:off x="5807452" y="406186"/>
                <a:ext cx="2732160" cy="13776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Fluxograma: Conector 17">
                <a:extLst>
                  <a:ext uri="{FF2B5EF4-FFF2-40B4-BE49-F238E27FC236}">
                    <a16:creationId xmlns:a16="http://schemas.microsoft.com/office/drawing/2014/main" id="{CC771FCE-989B-4D80-A7A0-68BB09285DA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334" y="280185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luxograma: Conector 20">
                <a:extLst>
                  <a:ext uri="{FF2B5EF4-FFF2-40B4-BE49-F238E27FC236}">
                    <a16:creationId xmlns:a16="http://schemas.microsoft.com/office/drawing/2014/main" id="{AEB38738-CEA4-4074-B5BF-FFEA62921F5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800775" y="270845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CaixaDeTexto 34">
                <a:extLst>
                  <a:ext uri="{FF2B5EF4-FFF2-40B4-BE49-F238E27FC236}">
                    <a16:creationId xmlns:a16="http://schemas.microsoft.com/office/drawing/2014/main" id="{03DE4D0A-4A6D-4869-837A-C0D6FBF5A8D1}"/>
                  </a:ext>
                </a:extLst>
              </p:cNvPr>
              <p:cNvSpPr txBox="1"/>
              <p:nvPr/>
            </p:nvSpPr>
            <p:spPr>
              <a:xfrm>
                <a:off x="5347952" y="558125"/>
                <a:ext cx="83469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srgbClr val="675C53"/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Ideação</a:t>
                </a:r>
              </a:p>
            </p:txBody>
          </p:sp>
          <p:sp>
            <p:nvSpPr>
              <p:cNvPr id="36" name="CaixaDeTexto 35">
                <a:extLst>
                  <a:ext uri="{FF2B5EF4-FFF2-40B4-BE49-F238E27FC236}">
                    <a16:creationId xmlns:a16="http://schemas.microsoft.com/office/drawing/2014/main" id="{2E3FEC1A-274C-4D24-8C67-53E29406355D}"/>
                  </a:ext>
                </a:extLst>
              </p:cNvPr>
              <p:cNvSpPr txBox="1"/>
              <p:nvPr/>
            </p:nvSpPr>
            <p:spPr>
              <a:xfrm>
                <a:off x="6089375" y="558125"/>
                <a:ext cx="61375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srgbClr val="675C53"/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Pesquisa</a:t>
                </a:r>
              </a:p>
            </p:txBody>
          </p:sp>
          <p:sp>
            <p:nvSpPr>
              <p:cNvPr id="37" name="CaixaDeTexto 36">
                <a:extLst>
                  <a:ext uri="{FF2B5EF4-FFF2-40B4-BE49-F238E27FC236}">
                    <a16:creationId xmlns:a16="http://schemas.microsoft.com/office/drawing/2014/main" id="{87470FC4-64DB-46DA-9BB6-AA0DD6EF9847}"/>
                  </a:ext>
                </a:extLst>
              </p:cNvPr>
              <p:cNvSpPr txBox="1"/>
              <p:nvPr/>
            </p:nvSpPr>
            <p:spPr>
              <a:xfrm>
                <a:off x="6636974" y="558125"/>
                <a:ext cx="93882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srgbClr val="675C53"/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Experimentação</a:t>
                </a:r>
              </a:p>
            </p:txBody>
          </p:sp>
          <p:sp>
            <p:nvSpPr>
              <p:cNvPr id="38" name="CaixaDeTexto 37">
                <a:extLst>
                  <a:ext uri="{FF2B5EF4-FFF2-40B4-BE49-F238E27FC236}">
                    <a16:creationId xmlns:a16="http://schemas.microsoft.com/office/drawing/2014/main" id="{BCFFBFB6-A531-4CE0-AD7F-C346C8FFA937}"/>
                  </a:ext>
                </a:extLst>
              </p:cNvPr>
              <p:cNvSpPr txBox="1"/>
              <p:nvPr/>
            </p:nvSpPr>
            <p:spPr>
              <a:xfrm>
                <a:off x="4365606" y="318367"/>
                <a:ext cx="970855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B2A9"/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FASE DO PRODUTO</a:t>
                </a:r>
              </a:p>
            </p:txBody>
          </p:sp>
          <p:sp>
            <p:nvSpPr>
              <p:cNvPr id="39" name="Fluxograma: Conector 19">
                <a:extLst>
                  <a:ext uri="{FF2B5EF4-FFF2-40B4-BE49-F238E27FC236}">
                    <a16:creationId xmlns:a16="http://schemas.microsoft.com/office/drawing/2014/main" id="{C3B221C3-122E-44C9-AC8F-BFFF78A5DC5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91892" y="269074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CaixaDeTexto 39">
                <a:extLst>
                  <a:ext uri="{FF2B5EF4-FFF2-40B4-BE49-F238E27FC236}">
                    <a16:creationId xmlns:a16="http://schemas.microsoft.com/office/drawing/2014/main" id="{FC6DE025-375D-4A34-A787-9B6C48037178}"/>
                  </a:ext>
                </a:extLst>
              </p:cNvPr>
              <p:cNvSpPr txBox="1"/>
              <p:nvPr/>
            </p:nvSpPr>
            <p:spPr>
              <a:xfrm>
                <a:off x="7461140" y="560930"/>
                <a:ext cx="93882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srgbClr val="675C53"/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Implementação</a:t>
                </a:r>
              </a:p>
            </p:txBody>
          </p:sp>
          <p:sp>
            <p:nvSpPr>
              <p:cNvPr id="41" name="Fluxograma: Conector 20">
                <a:extLst>
                  <a:ext uri="{FF2B5EF4-FFF2-40B4-BE49-F238E27FC236}">
                    <a16:creationId xmlns:a16="http://schemas.microsoft.com/office/drawing/2014/main" id="{10C49276-B922-45F8-A172-B929E31523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539612" y="275962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CaixaDeTexto 41">
                <a:extLst>
                  <a:ext uri="{FF2B5EF4-FFF2-40B4-BE49-F238E27FC236}">
                    <a16:creationId xmlns:a16="http://schemas.microsoft.com/office/drawing/2014/main" id="{80530A11-60C2-46F6-84EA-78F7B38CA93E}"/>
                  </a:ext>
                </a:extLst>
              </p:cNvPr>
              <p:cNvSpPr txBox="1"/>
              <p:nvPr/>
            </p:nvSpPr>
            <p:spPr>
              <a:xfrm>
                <a:off x="8191059" y="561879"/>
                <a:ext cx="93882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srgbClr val="675C53"/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Ativação</a:t>
                </a:r>
              </a:p>
            </p:txBody>
          </p:sp>
          <p:sp>
            <p:nvSpPr>
              <p:cNvPr id="43" name="Fluxograma: Conector 19">
                <a:extLst>
                  <a:ext uri="{FF2B5EF4-FFF2-40B4-BE49-F238E27FC236}">
                    <a16:creationId xmlns:a16="http://schemas.microsoft.com/office/drawing/2014/main" id="{0ED0D251-C678-4D85-82B9-20BD67C16C4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970135" y="269074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cxnSp>
          <p:nvCxnSpPr>
            <p:cNvPr id="31" name="Conector reto 30">
              <a:extLst>
                <a:ext uri="{FF2B5EF4-FFF2-40B4-BE49-F238E27FC236}">
                  <a16:creationId xmlns:a16="http://schemas.microsoft.com/office/drawing/2014/main" id="{53881FD5-406B-438A-81D5-7AB43D04E048}"/>
                </a:ext>
              </a:extLst>
            </p:cNvPr>
            <p:cNvCxnSpPr/>
            <p:nvPr/>
          </p:nvCxnSpPr>
          <p:spPr>
            <a:xfrm>
              <a:off x="7811872" y="6302365"/>
              <a:ext cx="0" cy="413038"/>
            </a:xfrm>
            <a:prstGeom prst="line">
              <a:avLst/>
            </a:prstGeom>
            <a:ln w="38100">
              <a:solidFill>
                <a:srgbClr val="0062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5A8617C-A2E4-47A2-A898-15ADE094BA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269" y="349878"/>
            <a:ext cx="591848" cy="478353"/>
          </a:xfrm>
        </p:spPr>
        <p:txBody>
          <a:bodyPr anchor="ctr">
            <a:normAutofit/>
          </a:bodyPr>
          <a:lstStyle>
            <a:lvl1pPr algn="ctr">
              <a:buNone/>
              <a:defRPr sz="200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</a:t>
            </a:r>
          </a:p>
        </p:txBody>
      </p:sp>
      <p:sp>
        <p:nvSpPr>
          <p:cNvPr id="53" name="Espaço Reservado para Texto 2">
            <a:extLst>
              <a:ext uri="{FF2B5EF4-FFF2-40B4-BE49-F238E27FC236}">
                <a16:creationId xmlns:a16="http://schemas.microsoft.com/office/drawing/2014/main" id="{C397C00D-D4DA-4B48-B913-CA5944AD9F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18349" y="570272"/>
            <a:ext cx="5300312" cy="329156"/>
          </a:xfrm>
        </p:spPr>
        <p:txBody>
          <a:bodyPr anchor="t">
            <a:normAutofit/>
          </a:bodyPr>
          <a:lstStyle>
            <a:lvl1pPr algn="l">
              <a:buNone/>
              <a:defRPr sz="1600">
                <a:solidFill>
                  <a:srgbClr val="675C53"/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54" name="Espaço Reservado para Texto 2">
            <a:extLst>
              <a:ext uri="{FF2B5EF4-FFF2-40B4-BE49-F238E27FC236}">
                <a16:creationId xmlns:a16="http://schemas.microsoft.com/office/drawing/2014/main" id="{05ADF487-4EFB-4A91-9CB9-54C649807B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45715" y="570272"/>
            <a:ext cx="5300312" cy="329156"/>
          </a:xfrm>
        </p:spPr>
        <p:txBody>
          <a:bodyPr anchor="t">
            <a:normAutofit/>
          </a:bodyPr>
          <a:lstStyle>
            <a:lvl1pPr algn="l">
              <a:buNone/>
              <a:defRPr sz="1600">
                <a:solidFill>
                  <a:srgbClr val="675C53"/>
                </a:solidFill>
              </a:defRPr>
            </a:lvl1pPr>
          </a:lstStyle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8223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rma Livre: Forma 26">
            <a:extLst>
              <a:ext uri="{FF2B5EF4-FFF2-40B4-BE49-F238E27FC236}">
                <a16:creationId xmlns:a16="http://schemas.microsoft.com/office/drawing/2014/main" id="{F8514690-00D7-4B2F-A36C-40A6DE479167}"/>
              </a:ext>
            </a:extLst>
          </p:cNvPr>
          <p:cNvSpPr/>
          <p:nvPr userDrawn="1"/>
        </p:nvSpPr>
        <p:spPr>
          <a:xfrm>
            <a:off x="0" y="6379648"/>
            <a:ext cx="12192162" cy="478353"/>
          </a:xfrm>
          <a:custGeom>
            <a:avLst/>
            <a:gdLst>
              <a:gd name="connsiteX0" fmla="*/ 0 w 12192162"/>
              <a:gd name="connsiteY0" fmla="*/ 0 h 478353"/>
              <a:gd name="connsiteX1" fmla="*/ 897812 w 12192162"/>
              <a:gd name="connsiteY1" fmla="*/ 1844 h 478353"/>
              <a:gd name="connsiteX2" fmla="*/ 1389496 w 12192162"/>
              <a:gd name="connsiteY2" fmla="*/ 3614 h 478353"/>
              <a:gd name="connsiteX3" fmla="*/ 3218751 w 12192162"/>
              <a:gd name="connsiteY3" fmla="*/ 218417 h 478353"/>
              <a:gd name="connsiteX4" fmla="*/ 12192162 w 12192162"/>
              <a:gd name="connsiteY4" fmla="*/ 224407 h 478353"/>
              <a:gd name="connsiteX5" fmla="*/ 12191999 w 12192162"/>
              <a:gd name="connsiteY5" fmla="*/ 478353 h 478353"/>
              <a:gd name="connsiteX6" fmla="*/ 0 w 12192162"/>
              <a:gd name="connsiteY6" fmla="*/ 478353 h 4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162" h="478353">
                <a:moveTo>
                  <a:pt x="0" y="0"/>
                </a:moveTo>
                <a:lnTo>
                  <a:pt x="897812" y="1844"/>
                </a:lnTo>
                <a:lnTo>
                  <a:pt x="1389496" y="3614"/>
                </a:lnTo>
                <a:cubicBezTo>
                  <a:pt x="2155312" y="11961"/>
                  <a:pt x="1782436" y="218903"/>
                  <a:pt x="3218751" y="218417"/>
                </a:cubicBezTo>
                <a:lnTo>
                  <a:pt x="12192162" y="224407"/>
                </a:lnTo>
                <a:cubicBezTo>
                  <a:pt x="12192108" y="309056"/>
                  <a:pt x="12192053" y="393704"/>
                  <a:pt x="12191999" y="478353"/>
                </a:cubicBezTo>
                <a:lnTo>
                  <a:pt x="0" y="47835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73" name="Retângulo 4">
            <a:extLst>
              <a:ext uri="{FF2B5EF4-FFF2-40B4-BE49-F238E27FC236}">
                <a16:creationId xmlns:a16="http://schemas.microsoft.com/office/drawing/2014/main" id="{4CA31EBD-D983-0D40-99CA-101EB48A6E6D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4" name="Retângulo 5">
            <a:extLst>
              <a:ext uri="{FF2B5EF4-FFF2-40B4-BE49-F238E27FC236}">
                <a16:creationId xmlns:a16="http://schemas.microsoft.com/office/drawing/2014/main" id="{29D49441-9231-A442-8561-2384BADE4378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5" name="Retângulo 6">
            <a:extLst>
              <a:ext uri="{FF2B5EF4-FFF2-40B4-BE49-F238E27FC236}">
                <a16:creationId xmlns:a16="http://schemas.microsoft.com/office/drawing/2014/main" id="{F7640527-FE94-5349-811E-A2E910A8136C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6" name="Retângulo 7">
            <a:extLst>
              <a:ext uri="{FF2B5EF4-FFF2-40B4-BE49-F238E27FC236}">
                <a16:creationId xmlns:a16="http://schemas.microsoft.com/office/drawing/2014/main" id="{3B638C98-8153-084F-BC91-FF9A132098AF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7" name="Retângulo 8">
            <a:extLst>
              <a:ext uri="{FF2B5EF4-FFF2-40B4-BE49-F238E27FC236}">
                <a16:creationId xmlns:a16="http://schemas.microsoft.com/office/drawing/2014/main" id="{6884A18B-D2C7-6240-8842-51A144CF341C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8" name="Retângulo 9">
            <a:extLst>
              <a:ext uri="{FF2B5EF4-FFF2-40B4-BE49-F238E27FC236}">
                <a16:creationId xmlns:a16="http://schemas.microsoft.com/office/drawing/2014/main" id="{24C46CAB-AC79-FB44-9FE5-10BE6CD36186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9" name="Retângulo 10">
            <a:extLst>
              <a:ext uri="{FF2B5EF4-FFF2-40B4-BE49-F238E27FC236}">
                <a16:creationId xmlns:a16="http://schemas.microsoft.com/office/drawing/2014/main" id="{A90F9425-5A51-3B4F-8146-65B58B0D7858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0" name="Retângulo 11">
            <a:extLst>
              <a:ext uri="{FF2B5EF4-FFF2-40B4-BE49-F238E27FC236}">
                <a16:creationId xmlns:a16="http://schemas.microsoft.com/office/drawing/2014/main" id="{206BCEC6-DDEC-3A4A-8632-AE5121D85535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1" name="Retângulo 12">
            <a:extLst>
              <a:ext uri="{FF2B5EF4-FFF2-40B4-BE49-F238E27FC236}">
                <a16:creationId xmlns:a16="http://schemas.microsoft.com/office/drawing/2014/main" id="{2D82E554-646B-AC40-92DB-034DC637D8B8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2" name="Retângulo 13">
            <a:extLst>
              <a:ext uri="{FF2B5EF4-FFF2-40B4-BE49-F238E27FC236}">
                <a16:creationId xmlns:a16="http://schemas.microsoft.com/office/drawing/2014/main" id="{4DC6A1B2-4201-9E4C-87B2-C5F15A8F3ED3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3" name="Retângulo 14">
            <a:extLst>
              <a:ext uri="{FF2B5EF4-FFF2-40B4-BE49-F238E27FC236}">
                <a16:creationId xmlns:a16="http://schemas.microsoft.com/office/drawing/2014/main" id="{724AB98E-4D47-B647-A7F8-0F4CB9AB3982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grpSp>
        <p:nvGrpSpPr>
          <p:cNvPr id="85" name="Agrupar 23">
            <a:extLst>
              <a:ext uri="{FF2B5EF4-FFF2-40B4-BE49-F238E27FC236}">
                <a16:creationId xmlns:a16="http://schemas.microsoft.com/office/drawing/2014/main" id="{BCC86B30-B864-644F-86E9-2CFAEEF4ABD1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86" name="Freeform 25">
              <a:extLst>
                <a:ext uri="{FF2B5EF4-FFF2-40B4-BE49-F238E27FC236}">
                  <a16:creationId xmlns:a16="http://schemas.microsoft.com/office/drawing/2014/main" id="{496BD72D-3597-E44C-80B1-6951BA663D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7" name="Freeform 26">
              <a:extLst>
                <a:ext uri="{FF2B5EF4-FFF2-40B4-BE49-F238E27FC236}">
                  <a16:creationId xmlns:a16="http://schemas.microsoft.com/office/drawing/2014/main" id="{55047C3C-36EB-6347-AA6B-9A13F136F3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8" name="Oval 27">
              <a:extLst>
                <a:ext uri="{FF2B5EF4-FFF2-40B4-BE49-F238E27FC236}">
                  <a16:creationId xmlns:a16="http://schemas.microsoft.com/office/drawing/2014/main" id="{DBE74293-5892-5444-BE81-DB43C760EB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9" name="Freeform 14">
              <a:extLst>
                <a:ext uri="{FF2B5EF4-FFF2-40B4-BE49-F238E27FC236}">
                  <a16:creationId xmlns:a16="http://schemas.microsoft.com/office/drawing/2014/main" id="{CE800642-7001-594F-BC78-7ED00ADBD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90" name="Freeform 13">
              <a:extLst>
                <a:ext uri="{FF2B5EF4-FFF2-40B4-BE49-F238E27FC236}">
                  <a16:creationId xmlns:a16="http://schemas.microsoft.com/office/drawing/2014/main" id="{9A16EB83-A922-0443-9C4F-3F94AF7C49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8BE4D1BD-D2B3-46F5-9C5C-36461E44CF96}"/>
              </a:ext>
            </a:extLst>
          </p:cNvPr>
          <p:cNvSpPr/>
          <p:nvPr userDrawn="1"/>
        </p:nvSpPr>
        <p:spPr>
          <a:xfrm>
            <a:off x="0" y="0"/>
            <a:ext cx="12192000" cy="1119188"/>
          </a:xfrm>
          <a:prstGeom prst="rect">
            <a:avLst/>
          </a:prstGeom>
          <a:solidFill>
            <a:srgbClr val="0062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BC07F124-95A6-44AD-B2E6-398FDDFA83E5}"/>
              </a:ext>
            </a:extLst>
          </p:cNvPr>
          <p:cNvSpPr txBox="1"/>
          <p:nvPr userDrawn="1"/>
        </p:nvSpPr>
        <p:spPr>
          <a:xfrm>
            <a:off x="6548578" y="251865"/>
            <a:ext cx="5328000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SOLUÇÃO</a:t>
            </a:r>
            <a:endParaRPr kumimoji="0" lang="pt-BR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FD280BC4-4404-4945-9DE9-5065499516F3}"/>
              </a:ext>
            </a:extLst>
          </p:cNvPr>
          <p:cNvSpPr txBox="1"/>
          <p:nvPr userDrawn="1"/>
        </p:nvSpPr>
        <p:spPr>
          <a:xfrm>
            <a:off x="1117957" y="251865"/>
            <a:ext cx="5328000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INICIATIVA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232DAD2E-8EC9-4274-9D55-C2281B43790C}"/>
              </a:ext>
            </a:extLst>
          </p:cNvPr>
          <p:cNvSpPr txBox="1"/>
          <p:nvPr userDrawn="1"/>
        </p:nvSpPr>
        <p:spPr>
          <a:xfrm>
            <a:off x="329721" y="251865"/>
            <a:ext cx="684000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5A8617C-A2E4-47A2-A898-15ADE094BA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269" y="349878"/>
            <a:ext cx="591848" cy="478353"/>
          </a:xfrm>
        </p:spPr>
        <p:txBody>
          <a:bodyPr anchor="ctr">
            <a:normAutofit/>
          </a:bodyPr>
          <a:lstStyle>
            <a:lvl1pPr algn="ctr">
              <a:buNone/>
              <a:defRPr sz="200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</a:t>
            </a:r>
          </a:p>
        </p:txBody>
      </p:sp>
      <p:sp>
        <p:nvSpPr>
          <p:cNvPr id="53" name="Espaço Reservado para Texto 2">
            <a:extLst>
              <a:ext uri="{FF2B5EF4-FFF2-40B4-BE49-F238E27FC236}">
                <a16:creationId xmlns:a16="http://schemas.microsoft.com/office/drawing/2014/main" id="{C397C00D-D4DA-4B48-B913-CA5944AD9F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18349" y="570272"/>
            <a:ext cx="5300312" cy="329156"/>
          </a:xfrm>
        </p:spPr>
        <p:txBody>
          <a:bodyPr anchor="t">
            <a:noAutofit/>
          </a:bodyPr>
          <a:lstStyle>
            <a:lvl1pPr algn="l">
              <a:buNone/>
              <a:defRPr sz="1600">
                <a:solidFill>
                  <a:srgbClr val="675C53"/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54" name="Espaço Reservado para Texto 2">
            <a:extLst>
              <a:ext uri="{FF2B5EF4-FFF2-40B4-BE49-F238E27FC236}">
                <a16:creationId xmlns:a16="http://schemas.microsoft.com/office/drawing/2014/main" id="{05ADF487-4EFB-4A91-9CB9-54C649807B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45715" y="570272"/>
            <a:ext cx="5300312" cy="329156"/>
          </a:xfrm>
        </p:spPr>
        <p:txBody>
          <a:bodyPr anchor="t">
            <a:noAutofit/>
          </a:bodyPr>
          <a:lstStyle>
            <a:lvl1pPr algn="l">
              <a:buNone/>
              <a:defRPr sz="1600">
                <a:solidFill>
                  <a:srgbClr val="675C53"/>
                </a:solidFill>
              </a:defRPr>
            </a:lvl1pPr>
          </a:lstStyle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40271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bg>
      <p:bgPr>
        <a:solidFill>
          <a:srgbClr val="0062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rma Livre: Forma 26">
            <a:extLst>
              <a:ext uri="{FF2B5EF4-FFF2-40B4-BE49-F238E27FC236}">
                <a16:creationId xmlns:a16="http://schemas.microsoft.com/office/drawing/2014/main" id="{F8514690-00D7-4B2F-A36C-40A6DE479167}"/>
              </a:ext>
            </a:extLst>
          </p:cNvPr>
          <p:cNvSpPr/>
          <p:nvPr userDrawn="1"/>
        </p:nvSpPr>
        <p:spPr>
          <a:xfrm>
            <a:off x="0" y="6379648"/>
            <a:ext cx="12192162" cy="478353"/>
          </a:xfrm>
          <a:custGeom>
            <a:avLst/>
            <a:gdLst>
              <a:gd name="connsiteX0" fmla="*/ 0 w 12192162"/>
              <a:gd name="connsiteY0" fmla="*/ 0 h 478353"/>
              <a:gd name="connsiteX1" fmla="*/ 897812 w 12192162"/>
              <a:gd name="connsiteY1" fmla="*/ 1844 h 478353"/>
              <a:gd name="connsiteX2" fmla="*/ 1389496 w 12192162"/>
              <a:gd name="connsiteY2" fmla="*/ 3614 h 478353"/>
              <a:gd name="connsiteX3" fmla="*/ 3218751 w 12192162"/>
              <a:gd name="connsiteY3" fmla="*/ 218417 h 478353"/>
              <a:gd name="connsiteX4" fmla="*/ 12192162 w 12192162"/>
              <a:gd name="connsiteY4" fmla="*/ 224407 h 478353"/>
              <a:gd name="connsiteX5" fmla="*/ 12191999 w 12192162"/>
              <a:gd name="connsiteY5" fmla="*/ 478353 h 478353"/>
              <a:gd name="connsiteX6" fmla="*/ 0 w 12192162"/>
              <a:gd name="connsiteY6" fmla="*/ 478353 h 4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162" h="478353">
                <a:moveTo>
                  <a:pt x="0" y="0"/>
                </a:moveTo>
                <a:lnTo>
                  <a:pt x="897812" y="1844"/>
                </a:lnTo>
                <a:lnTo>
                  <a:pt x="1389496" y="3614"/>
                </a:lnTo>
                <a:cubicBezTo>
                  <a:pt x="2155312" y="11961"/>
                  <a:pt x="1782436" y="218903"/>
                  <a:pt x="3218751" y="218417"/>
                </a:cubicBezTo>
                <a:lnTo>
                  <a:pt x="12192162" y="224407"/>
                </a:lnTo>
                <a:cubicBezTo>
                  <a:pt x="12192108" y="309056"/>
                  <a:pt x="12192053" y="393704"/>
                  <a:pt x="12191999" y="478353"/>
                </a:cubicBezTo>
                <a:lnTo>
                  <a:pt x="0" y="47835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73" name="Retângulo 4">
            <a:extLst>
              <a:ext uri="{FF2B5EF4-FFF2-40B4-BE49-F238E27FC236}">
                <a16:creationId xmlns:a16="http://schemas.microsoft.com/office/drawing/2014/main" id="{4CA31EBD-D983-0D40-99CA-101EB48A6E6D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4" name="Retângulo 5">
            <a:extLst>
              <a:ext uri="{FF2B5EF4-FFF2-40B4-BE49-F238E27FC236}">
                <a16:creationId xmlns:a16="http://schemas.microsoft.com/office/drawing/2014/main" id="{29D49441-9231-A442-8561-2384BADE4378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5" name="Retângulo 6">
            <a:extLst>
              <a:ext uri="{FF2B5EF4-FFF2-40B4-BE49-F238E27FC236}">
                <a16:creationId xmlns:a16="http://schemas.microsoft.com/office/drawing/2014/main" id="{F7640527-FE94-5349-811E-A2E910A8136C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6" name="Retângulo 7">
            <a:extLst>
              <a:ext uri="{FF2B5EF4-FFF2-40B4-BE49-F238E27FC236}">
                <a16:creationId xmlns:a16="http://schemas.microsoft.com/office/drawing/2014/main" id="{3B638C98-8153-084F-BC91-FF9A132098AF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7" name="Retângulo 8">
            <a:extLst>
              <a:ext uri="{FF2B5EF4-FFF2-40B4-BE49-F238E27FC236}">
                <a16:creationId xmlns:a16="http://schemas.microsoft.com/office/drawing/2014/main" id="{6884A18B-D2C7-6240-8842-51A144CF341C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8" name="Retângulo 9">
            <a:extLst>
              <a:ext uri="{FF2B5EF4-FFF2-40B4-BE49-F238E27FC236}">
                <a16:creationId xmlns:a16="http://schemas.microsoft.com/office/drawing/2014/main" id="{24C46CAB-AC79-FB44-9FE5-10BE6CD36186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9" name="Retângulo 10">
            <a:extLst>
              <a:ext uri="{FF2B5EF4-FFF2-40B4-BE49-F238E27FC236}">
                <a16:creationId xmlns:a16="http://schemas.microsoft.com/office/drawing/2014/main" id="{A90F9425-5A51-3B4F-8146-65B58B0D7858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0" name="Retângulo 11">
            <a:extLst>
              <a:ext uri="{FF2B5EF4-FFF2-40B4-BE49-F238E27FC236}">
                <a16:creationId xmlns:a16="http://schemas.microsoft.com/office/drawing/2014/main" id="{206BCEC6-DDEC-3A4A-8632-AE5121D85535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1" name="Retângulo 12">
            <a:extLst>
              <a:ext uri="{FF2B5EF4-FFF2-40B4-BE49-F238E27FC236}">
                <a16:creationId xmlns:a16="http://schemas.microsoft.com/office/drawing/2014/main" id="{2D82E554-646B-AC40-92DB-034DC637D8B8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2" name="Retângulo 13">
            <a:extLst>
              <a:ext uri="{FF2B5EF4-FFF2-40B4-BE49-F238E27FC236}">
                <a16:creationId xmlns:a16="http://schemas.microsoft.com/office/drawing/2014/main" id="{4DC6A1B2-4201-9E4C-87B2-C5F15A8F3ED3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3" name="Retângulo 14">
            <a:extLst>
              <a:ext uri="{FF2B5EF4-FFF2-40B4-BE49-F238E27FC236}">
                <a16:creationId xmlns:a16="http://schemas.microsoft.com/office/drawing/2014/main" id="{724AB98E-4D47-B647-A7F8-0F4CB9AB3982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grpSp>
        <p:nvGrpSpPr>
          <p:cNvPr id="85" name="Agrupar 23">
            <a:extLst>
              <a:ext uri="{FF2B5EF4-FFF2-40B4-BE49-F238E27FC236}">
                <a16:creationId xmlns:a16="http://schemas.microsoft.com/office/drawing/2014/main" id="{BCC86B30-B864-644F-86E9-2CFAEEF4ABD1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86" name="Freeform 25">
              <a:extLst>
                <a:ext uri="{FF2B5EF4-FFF2-40B4-BE49-F238E27FC236}">
                  <a16:creationId xmlns:a16="http://schemas.microsoft.com/office/drawing/2014/main" id="{496BD72D-3597-E44C-80B1-6951BA663D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7" name="Freeform 26">
              <a:extLst>
                <a:ext uri="{FF2B5EF4-FFF2-40B4-BE49-F238E27FC236}">
                  <a16:creationId xmlns:a16="http://schemas.microsoft.com/office/drawing/2014/main" id="{55047C3C-36EB-6347-AA6B-9A13F136F3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8" name="Oval 27">
              <a:extLst>
                <a:ext uri="{FF2B5EF4-FFF2-40B4-BE49-F238E27FC236}">
                  <a16:creationId xmlns:a16="http://schemas.microsoft.com/office/drawing/2014/main" id="{DBE74293-5892-5444-BE81-DB43C760EB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89" name="Freeform 14">
              <a:extLst>
                <a:ext uri="{FF2B5EF4-FFF2-40B4-BE49-F238E27FC236}">
                  <a16:creationId xmlns:a16="http://schemas.microsoft.com/office/drawing/2014/main" id="{CE800642-7001-594F-BC78-7ED00ADBD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90" name="Freeform 13">
              <a:extLst>
                <a:ext uri="{FF2B5EF4-FFF2-40B4-BE49-F238E27FC236}">
                  <a16:creationId xmlns:a16="http://schemas.microsoft.com/office/drawing/2014/main" id="{9A16EB83-A922-0443-9C4F-3F94AF7C49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4BB6D95F-A503-4C20-97E3-94719DC9CA48}"/>
              </a:ext>
            </a:extLst>
          </p:cNvPr>
          <p:cNvSpPr txBox="1"/>
          <p:nvPr userDrawn="1"/>
        </p:nvSpPr>
        <p:spPr>
          <a:xfrm>
            <a:off x="9078048" y="1166265"/>
            <a:ext cx="2836080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120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ONCLUSÃO SOLUÇÃO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2018B6C5-5EBC-422F-A4EA-BE5B831EED4D}"/>
              </a:ext>
            </a:extLst>
          </p:cNvPr>
          <p:cNvSpPr txBox="1"/>
          <p:nvPr userDrawn="1"/>
        </p:nvSpPr>
        <p:spPr>
          <a:xfrm>
            <a:off x="1117957" y="1166265"/>
            <a:ext cx="7880062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INICIATIVA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4A0EFFE6-81B7-413A-94E2-6242F33B7FC5}"/>
              </a:ext>
            </a:extLst>
          </p:cNvPr>
          <p:cNvSpPr txBox="1"/>
          <p:nvPr userDrawn="1"/>
        </p:nvSpPr>
        <p:spPr>
          <a:xfrm>
            <a:off x="329721" y="1166265"/>
            <a:ext cx="684000" cy="63776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AFCA7175-6D77-4DFD-A1AB-661129966444}"/>
              </a:ext>
            </a:extLst>
          </p:cNvPr>
          <p:cNvGrpSpPr/>
          <p:nvPr userDrawn="1"/>
        </p:nvGrpSpPr>
        <p:grpSpPr>
          <a:xfrm>
            <a:off x="213993" y="153865"/>
            <a:ext cx="2422652" cy="648000"/>
            <a:chOff x="467544" y="987575"/>
            <a:chExt cx="2422652" cy="648000"/>
          </a:xfrm>
        </p:grpSpPr>
        <p:grpSp>
          <p:nvGrpSpPr>
            <p:cNvPr id="48" name="Agrupar 47">
              <a:extLst>
                <a:ext uri="{FF2B5EF4-FFF2-40B4-BE49-F238E27FC236}">
                  <a16:creationId xmlns:a16="http://schemas.microsoft.com/office/drawing/2014/main" id="{B569C1E6-C48B-4D81-AB44-746F040D0AF8}"/>
                </a:ext>
              </a:extLst>
            </p:cNvPr>
            <p:cNvGrpSpPr/>
            <p:nvPr userDrawn="1"/>
          </p:nvGrpSpPr>
          <p:grpSpPr>
            <a:xfrm>
              <a:off x="467544" y="987575"/>
              <a:ext cx="2422652" cy="648000"/>
              <a:chOff x="4676775" y="4572347"/>
              <a:chExt cx="2811116" cy="743703"/>
            </a:xfrm>
          </p:grpSpPr>
          <p:sp>
            <p:nvSpPr>
              <p:cNvPr id="50" name="Freeform 25">
                <a:extLst>
                  <a:ext uri="{FF2B5EF4-FFF2-40B4-BE49-F238E27FC236}">
                    <a16:creationId xmlns:a16="http://schemas.microsoft.com/office/drawing/2014/main" id="{AC1139D6-A2BA-488C-9462-D5ABDDB50A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42835" y="4753832"/>
                <a:ext cx="1008063" cy="434975"/>
              </a:xfrm>
              <a:custGeom>
                <a:avLst/>
                <a:gdLst>
                  <a:gd name="T0" fmla="*/ 0 w 2770"/>
                  <a:gd name="T1" fmla="*/ 1198 h 1198"/>
                  <a:gd name="T2" fmla="*/ 232 w 2770"/>
                  <a:gd name="T3" fmla="*/ 0 h 1198"/>
                  <a:gd name="T4" fmla="*/ 879 w 2770"/>
                  <a:gd name="T5" fmla="*/ 0 h 1198"/>
                  <a:gd name="T6" fmla="*/ 852 w 2770"/>
                  <a:gd name="T7" fmla="*/ 133 h 1198"/>
                  <a:gd name="T8" fmla="*/ 361 w 2770"/>
                  <a:gd name="T9" fmla="*/ 133 h 1198"/>
                  <a:gd name="T10" fmla="*/ 287 w 2770"/>
                  <a:gd name="T11" fmla="*/ 515 h 1198"/>
                  <a:gd name="T12" fmla="*/ 731 w 2770"/>
                  <a:gd name="T13" fmla="*/ 515 h 1198"/>
                  <a:gd name="T14" fmla="*/ 705 w 2770"/>
                  <a:gd name="T15" fmla="*/ 648 h 1198"/>
                  <a:gd name="T16" fmla="*/ 263 w 2770"/>
                  <a:gd name="T17" fmla="*/ 648 h 1198"/>
                  <a:gd name="T18" fmla="*/ 182 w 2770"/>
                  <a:gd name="T19" fmla="*/ 1065 h 1198"/>
                  <a:gd name="T20" fmla="*/ 690 w 2770"/>
                  <a:gd name="T21" fmla="*/ 1065 h 1198"/>
                  <a:gd name="T22" fmla="*/ 663 w 2770"/>
                  <a:gd name="T23" fmla="*/ 1198 h 1198"/>
                  <a:gd name="T24" fmla="*/ 0 w 2770"/>
                  <a:gd name="T25" fmla="*/ 1198 h 1198"/>
                  <a:gd name="T26" fmla="*/ 810 w 2770"/>
                  <a:gd name="T27" fmla="*/ 1198 h 1198"/>
                  <a:gd name="T28" fmla="*/ 1291 w 2770"/>
                  <a:gd name="T29" fmla="*/ 569 h 1198"/>
                  <a:gd name="T30" fmla="*/ 1062 w 2770"/>
                  <a:gd name="T31" fmla="*/ 0 h 1198"/>
                  <a:gd name="T32" fmla="*/ 1232 w 2770"/>
                  <a:gd name="T33" fmla="*/ 0 h 1198"/>
                  <a:gd name="T34" fmla="*/ 1394 w 2770"/>
                  <a:gd name="T35" fmla="*/ 445 h 1198"/>
                  <a:gd name="T36" fmla="*/ 1727 w 2770"/>
                  <a:gd name="T37" fmla="*/ 0 h 1198"/>
                  <a:gd name="T38" fmla="*/ 1890 w 2770"/>
                  <a:gd name="T39" fmla="*/ 0 h 1198"/>
                  <a:gd name="T40" fmla="*/ 1453 w 2770"/>
                  <a:gd name="T41" fmla="*/ 569 h 1198"/>
                  <a:gd name="T42" fmla="*/ 1703 w 2770"/>
                  <a:gd name="T43" fmla="*/ 1198 h 1198"/>
                  <a:gd name="T44" fmla="*/ 1532 w 2770"/>
                  <a:gd name="T45" fmla="*/ 1198 h 1198"/>
                  <a:gd name="T46" fmla="*/ 1348 w 2770"/>
                  <a:gd name="T47" fmla="*/ 693 h 1198"/>
                  <a:gd name="T48" fmla="*/ 972 w 2770"/>
                  <a:gd name="T49" fmla="*/ 1198 h 1198"/>
                  <a:gd name="T50" fmla="*/ 810 w 2770"/>
                  <a:gd name="T51" fmla="*/ 1198 h 1198"/>
                  <a:gd name="T52" fmla="*/ 2143 w 2770"/>
                  <a:gd name="T53" fmla="*/ 594 h 1198"/>
                  <a:gd name="T54" fmla="*/ 2341 w 2770"/>
                  <a:gd name="T55" fmla="*/ 594 h 1198"/>
                  <a:gd name="T56" fmla="*/ 2516 w 2770"/>
                  <a:gd name="T57" fmla="*/ 546 h 1198"/>
                  <a:gd name="T58" fmla="*/ 2604 w 2770"/>
                  <a:gd name="T59" fmla="*/ 386 h 1198"/>
                  <a:gd name="T60" fmla="*/ 2610 w 2770"/>
                  <a:gd name="T61" fmla="*/ 347 h 1198"/>
                  <a:gd name="T62" fmla="*/ 2612 w 2770"/>
                  <a:gd name="T63" fmla="*/ 310 h 1198"/>
                  <a:gd name="T64" fmla="*/ 2561 w 2770"/>
                  <a:gd name="T65" fmla="*/ 177 h 1198"/>
                  <a:gd name="T66" fmla="*/ 2397 w 2770"/>
                  <a:gd name="T67" fmla="*/ 129 h 1198"/>
                  <a:gd name="T68" fmla="*/ 2231 w 2770"/>
                  <a:gd name="T69" fmla="*/ 129 h 1198"/>
                  <a:gd name="T70" fmla="*/ 2143 w 2770"/>
                  <a:gd name="T71" fmla="*/ 594 h 1198"/>
                  <a:gd name="T72" fmla="*/ 1867 w 2770"/>
                  <a:gd name="T73" fmla="*/ 1198 h 1198"/>
                  <a:gd name="T74" fmla="*/ 2098 w 2770"/>
                  <a:gd name="T75" fmla="*/ 0 h 1198"/>
                  <a:gd name="T76" fmla="*/ 2435 w 2770"/>
                  <a:gd name="T77" fmla="*/ 0 h 1198"/>
                  <a:gd name="T78" fmla="*/ 2685 w 2770"/>
                  <a:gd name="T79" fmla="*/ 82 h 1198"/>
                  <a:gd name="T80" fmla="*/ 2770 w 2770"/>
                  <a:gd name="T81" fmla="*/ 302 h 1198"/>
                  <a:gd name="T82" fmla="*/ 2767 w 2770"/>
                  <a:gd name="T83" fmla="*/ 344 h 1198"/>
                  <a:gd name="T84" fmla="*/ 2762 w 2770"/>
                  <a:gd name="T85" fmla="*/ 387 h 1198"/>
                  <a:gd name="T86" fmla="*/ 2704 w 2770"/>
                  <a:gd name="T87" fmla="*/ 545 h 1198"/>
                  <a:gd name="T88" fmla="*/ 2605 w 2770"/>
                  <a:gd name="T89" fmla="*/ 648 h 1198"/>
                  <a:gd name="T90" fmla="*/ 2475 w 2770"/>
                  <a:gd name="T91" fmla="*/ 705 h 1198"/>
                  <a:gd name="T92" fmla="*/ 2327 w 2770"/>
                  <a:gd name="T93" fmla="*/ 722 h 1198"/>
                  <a:gd name="T94" fmla="*/ 2116 w 2770"/>
                  <a:gd name="T95" fmla="*/ 722 h 1198"/>
                  <a:gd name="T96" fmla="*/ 2025 w 2770"/>
                  <a:gd name="T97" fmla="*/ 1198 h 1198"/>
                  <a:gd name="T98" fmla="*/ 1867 w 2770"/>
                  <a:gd name="T99" fmla="*/ 1198 h 1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770" h="1198">
                    <a:moveTo>
                      <a:pt x="0" y="1198"/>
                    </a:moveTo>
                    <a:lnTo>
                      <a:pt x="232" y="0"/>
                    </a:lnTo>
                    <a:lnTo>
                      <a:pt x="879" y="0"/>
                    </a:lnTo>
                    <a:lnTo>
                      <a:pt x="852" y="133"/>
                    </a:lnTo>
                    <a:lnTo>
                      <a:pt x="361" y="133"/>
                    </a:lnTo>
                    <a:lnTo>
                      <a:pt x="287" y="515"/>
                    </a:lnTo>
                    <a:lnTo>
                      <a:pt x="731" y="515"/>
                    </a:lnTo>
                    <a:lnTo>
                      <a:pt x="705" y="648"/>
                    </a:lnTo>
                    <a:lnTo>
                      <a:pt x="263" y="648"/>
                    </a:lnTo>
                    <a:lnTo>
                      <a:pt x="182" y="1065"/>
                    </a:lnTo>
                    <a:lnTo>
                      <a:pt x="690" y="1065"/>
                    </a:lnTo>
                    <a:lnTo>
                      <a:pt x="663" y="1198"/>
                    </a:lnTo>
                    <a:lnTo>
                      <a:pt x="0" y="1198"/>
                    </a:lnTo>
                    <a:close/>
                    <a:moveTo>
                      <a:pt x="810" y="1198"/>
                    </a:moveTo>
                    <a:lnTo>
                      <a:pt x="1291" y="569"/>
                    </a:lnTo>
                    <a:lnTo>
                      <a:pt x="1062" y="0"/>
                    </a:lnTo>
                    <a:lnTo>
                      <a:pt x="1232" y="0"/>
                    </a:lnTo>
                    <a:lnTo>
                      <a:pt x="1394" y="445"/>
                    </a:lnTo>
                    <a:lnTo>
                      <a:pt x="1727" y="0"/>
                    </a:lnTo>
                    <a:lnTo>
                      <a:pt x="1890" y="0"/>
                    </a:lnTo>
                    <a:lnTo>
                      <a:pt x="1453" y="569"/>
                    </a:lnTo>
                    <a:lnTo>
                      <a:pt x="1703" y="1198"/>
                    </a:lnTo>
                    <a:lnTo>
                      <a:pt x="1532" y="1198"/>
                    </a:lnTo>
                    <a:lnTo>
                      <a:pt x="1348" y="693"/>
                    </a:lnTo>
                    <a:lnTo>
                      <a:pt x="972" y="1198"/>
                    </a:lnTo>
                    <a:lnTo>
                      <a:pt x="810" y="1198"/>
                    </a:lnTo>
                    <a:close/>
                    <a:moveTo>
                      <a:pt x="2143" y="594"/>
                    </a:moveTo>
                    <a:lnTo>
                      <a:pt x="2341" y="594"/>
                    </a:lnTo>
                    <a:cubicBezTo>
                      <a:pt x="2415" y="594"/>
                      <a:pt x="2473" y="578"/>
                      <a:pt x="2516" y="546"/>
                    </a:cubicBezTo>
                    <a:cubicBezTo>
                      <a:pt x="2560" y="515"/>
                      <a:pt x="2589" y="461"/>
                      <a:pt x="2604" y="386"/>
                    </a:cubicBezTo>
                    <a:cubicBezTo>
                      <a:pt x="2606" y="372"/>
                      <a:pt x="2608" y="360"/>
                      <a:pt x="2610" y="347"/>
                    </a:cubicBezTo>
                    <a:cubicBezTo>
                      <a:pt x="2611" y="334"/>
                      <a:pt x="2612" y="322"/>
                      <a:pt x="2612" y="310"/>
                    </a:cubicBezTo>
                    <a:cubicBezTo>
                      <a:pt x="2612" y="253"/>
                      <a:pt x="2595" y="209"/>
                      <a:pt x="2561" y="177"/>
                    </a:cubicBezTo>
                    <a:cubicBezTo>
                      <a:pt x="2526" y="145"/>
                      <a:pt x="2472" y="129"/>
                      <a:pt x="2397" y="129"/>
                    </a:cubicBezTo>
                    <a:lnTo>
                      <a:pt x="2231" y="129"/>
                    </a:lnTo>
                    <a:lnTo>
                      <a:pt x="2143" y="594"/>
                    </a:lnTo>
                    <a:close/>
                    <a:moveTo>
                      <a:pt x="1867" y="1198"/>
                    </a:moveTo>
                    <a:lnTo>
                      <a:pt x="2098" y="0"/>
                    </a:lnTo>
                    <a:lnTo>
                      <a:pt x="2435" y="0"/>
                    </a:lnTo>
                    <a:cubicBezTo>
                      <a:pt x="2544" y="0"/>
                      <a:pt x="2628" y="27"/>
                      <a:pt x="2685" y="82"/>
                    </a:cubicBezTo>
                    <a:cubicBezTo>
                      <a:pt x="2741" y="137"/>
                      <a:pt x="2770" y="210"/>
                      <a:pt x="2770" y="302"/>
                    </a:cubicBezTo>
                    <a:cubicBezTo>
                      <a:pt x="2770" y="316"/>
                      <a:pt x="2769" y="330"/>
                      <a:pt x="2767" y="344"/>
                    </a:cubicBezTo>
                    <a:cubicBezTo>
                      <a:pt x="2766" y="357"/>
                      <a:pt x="2764" y="372"/>
                      <a:pt x="2762" y="387"/>
                    </a:cubicBezTo>
                    <a:cubicBezTo>
                      <a:pt x="2751" y="450"/>
                      <a:pt x="2732" y="502"/>
                      <a:pt x="2704" y="545"/>
                    </a:cubicBezTo>
                    <a:cubicBezTo>
                      <a:pt x="2677" y="588"/>
                      <a:pt x="2644" y="622"/>
                      <a:pt x="2605" y="648"/>
                    </a:cubicBezTo>
                    <a:cubicBezTo>
                      <a:pt x="2566" y="675"/>
                      <a:pt x="2523" y="693"/>
                      <a:pt x="2475" y="705"/>
                    </a:cubicBezTo>
                    <a:cubicBezTo>
                      <a:pt x="2428" y="716"/>
                      <a:pt x="2378" y="722"/>
                      <a:pt x="2327" y="722"/>
                    </a:cubicBezTo>
                    <a:lnTo>
                      <a:pt x="2116" y="722"/>
                    </a:lnTo>
                    <a:lnTo>
                      <a:pt x="2025" y="1198"/>
                    </a:lnTo>
                    <a:lnTo>
                      <a:pt x="1867" y="119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36" tIns="45719" rIns="91436" bIns="4571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4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79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51" name="Freeform 26">
                <a:extLst>
                  <a:ext uri="{FF2B5EF4-FFF2-40B4-BE49-F238E27FC236}">
                    <a16:creationId xmlns:a16="http://schemas.microsoft.com/office/drawing/2014/main" id="{B16463C6-3C2A-433F-A3C8-D96C695067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8892" y="4736263"/>
                <a:ext cx="888999" cy="441325"/>
              </a:xfrm>
              <a:custGeom>
                <a:avLst/>
                <a:gdLst>
                  <a:gd name="T0" fmla="*/ 270 w 2440"/>
                  <a:gd name="T1" fmla="*/ 282 h 1216"/>
                  <a:gd name="T2" fmla="*/ 41 w 2440"/>
                  <a:gd name="T3" fmla="*/ 121 h 1216"/>
                  <a:gd name="T4" fmla="*/ 364 w 2440"/>
                  <a:gd name="T5" fmla="*/ 28 h 1216"/>
                  <a:gd name="T6" fmla="*/ 604 w 2440"/>
                  <a:gd name="T7" fmla="*/ 15 h 1216"/>
                  <a:gd name="T8" fmla="*/ 91 w 2440"/>
                  <a:gd name="T9" fmla="*/ 1198 h 1216"/>
                  <a:gd name="T10" fmla="*/ 815 w 2440"/>
                  <a:gd name="T11" fmla="*/ 1107 h 1216"/>
                  <a:gd name="T12" fmla="*/ 751 w 2440"/>
                  <a:gd name="T13" fmla="*/ 847 h 1216"/>
                  <a:gd name="T14" fmla="*/ 769 w 2440"/>
                  <a:gd name="T15" fmla="*/ 633 h 1216"/>
                  <a:gd name="T16" fmla="*/ 942 w 2440"/>
                  <a:gd name="T17" fmla="*/ 145 h 1216"/>
                  <a:gd name="T18" fmla="*/ 1250 w 2440"/>
                  <a:gd name="T19" fmla="*/ 0 h 1216"/>
                  <a:gd name="T20" fmla="*/ 1500 w 2440"/>
                  <a:gd name="T21" fmla="*/ 111 h 1216"/>
                  <a:gd name="T22" fmla="*/ 1563 w 2440"/>
                  <a:gd name="T23" fmla="*/ 371 h 1216"/>
                  <a:gd name="T24" fmla="*/ 1545 w 2440"/>
                  <a:gd name="T25" fmla="*/ 583 h 1216"/>
                  <a:gd name="T26" fmla="*/ 1367 w 2440"/>
                  <a:gd name="T27" fmla="*/ 1078 h 1216"/>
                  <a:gd name="T28" fmla="*/ 1064 w 2440"/>
                  <a:gd name="T29" fmla="*/ 1216 h 1216"/>
                  <a:gd name="T30" fmla="*/ 1033 w 2440"/>
                  <a:gd name="T31" fmla="*/ 944 h 1216"/>
                  <a:gd name="T32" fmla="*/ 1147 w 2440"/>
                  <a:gd name="T33" fmla="*/ 954 h 1216"/>
                  <a:gd name="T34" fmla="*/ 1226 w 2440"/>
                  <a:gd name="T35" fmla="*/ 789 h 1216"/>
                  <a:gd name="T36" fmla="*/ 1289 w 2440"/>
                  <a:gd name="T37" fmla="*/ 463 h 1216"/>
                  <a:gd name="T38" fmla="*/ 1278 w 2440"/>
                  <a:gd name="T39" fmla="*/ 273 h 1216"/>
                  <a:gd name="T40" fmla="*/ 1164 w 2440"/>
                  <a:gd name="T41" fmla="*/ 259 h 1216"/>
                  <a:gd name="T42" fmla="*/ 1087 w 2440"/>
                  <a:gd name="T43" fmla="*/ 421 h 1216"/>
                  <a:gd name="T44" fmla="*/ 1024 w 2440"/>
                  <a:gd name="T45" fmla="*/ 755 h 1216"/>
                  <a:gd name="T46" fmla="*/ 1033 w 2440"/>
                  <a:gd name="T47" fmla="*/ 944 h 1216"/>
                  <a:gd name="T48" fmla="*/ 1691 w 2440"/>
                  <a:gd name="T49" fmla="*/ 1107 h 1216"/>
                  <a:gd name="T50" fmla="*/ 1627 w 2440"/>
                  <a:gd name="T51" fmla="*/ 847 h 1216"/>
                  <a:gd name="T52" fmla="*/ 1645 w 2440"/>
                  <a:gd name="T53" fmla="*/ 633 h 1216"/>
                  <a:gd name="T54" fmla="*/ 1819 w 2440"/>
                  <a:gd name="T55" fmla="*/ 145 h 1216"/>
                  <a:gd name="T56" fmla="*/ 2126 w 2440"/>
                  <a:gd name="T57" fmla="*/ 0 h 1216"/>
                  <a:gd name="T58" fmla="*/ 2377 w 2440"/>
                  <a:gd name="T59" fmla="*/ 111 h 1216"/>
                  <a:gd name="T60" fmla="*/ 2440 w 2440"/>
                  <a:gd name="T61" fmla="*/ 371 h 1216"/>
                  <a:gd name="T62" fmla="*/ 2422 w 2440"/>
                  <a:gd name="T63" fmla="*/ 583 h 1216"/>
                  <a:gd name="T64" fmla="*/ 2244 w 2440"/>
                  <a:gd name="T65" fmla="*/ 1078 h 1216"/>
                  <a:gd name="T66" fmla="*/ 1941 w 2440"/>
                  <a:gd name="T67" fmla="*/ 1216 h 1216"/>
                  <a:gd name="T68" fmla="*/ 1910 w 2440"/>
                  <a:gd name="T69" fmla="*/ 944 h 1216"/>
                  <a:gd name="T70" fmla="*/ 2024 w 2440"/>
                  <a:gd name="T71" fmla="*/ 954 h 1216"/>
                  <a:gd name="T72" fmla="*/ 2103 w 2440"/>
                  <a:gd name="T73" fmla="*/ 789 h 1216"/>
                  <a:gd name="T74" fmla="*/ 2166 w 2440"/>
                  <a:gd name="T75" fmla="*/ 463 h 1216"/>
                  <a:gd name="T76" fmla="*/ 2155 w 2440"/>
                  <a:gd name="T77" fmla="*/ 273 h 1216"/>
                  <a:gd name="T78" fmla="*/ 2041 w 2440"/>
                  <a:gd name="T79" fmla="*/ 259 h 1216"/>
                  <a:gd name="T80" fmla="*/ 1964 w 2440"/>
                  <a:gd name="T81" fmla="*/ 421 h 1216"/>
                  <a:gd name="T82" fmla="*/ 1901 w 2440"/>
                  <a:gd name="T83" fmla="*/ 755 h 1216"/>
                  <a:gd name="T84" fmla="*/ 1910 w 2440"/>
                  <a:gd name="T85" fmla="*/ 944 h 1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40" h="1216">
                    <a:moveTo>
                      <a:pt x="91" y="1198"/>
                    </a:moveTo>
                    <a:lnTo>
                      <a:pt x="270" y="282"/>
                    </a:lnTo>
                    <a:lnTo>
                      <a:pt x="0" y="328"/>
                    </a:lnTo>
                    <a:lnTo>
                      <a:pt x="41" y="121"/>
                    </a:lnTo>
                    <a:lnTo>
                      <a:pt x="256" y="56"/>
                    </a:lnTo>
                    <a:cubicBezTo>
                      <a:pt x="289" y="46"/>
                      <a:pt x="325" y="36"/>
                      <a:pt x="364" y="28"/>
                    </a:cubicBezTo>
                    <a:cubicBezTo>
                      <a:pt x="403" y="19"/>
                      <a:pt x="442" y="15"/>
                      <a:pt x="483" y="15"/>
                    </a:cubicBezTo>
                    <a:lnTo>
                      <a:pt x="604" y="15"/>
                    </a:lnTo>
                    <a:lnTo>
                      <a:pt x="373" y="1198"/>
                    </a:lnTo>
                    <a:lnTo>
                      <a:pt x="91" y="1198"/>
                    </a:lnTo>
                    <a:close/>
                    <a:moveTo>
                      <a:pt x="910" y="1187"/>
                    </a:moveTo>
                    <a:cubicBezTo>
                      <a:pt x="870" y="1167"/>
                      <a:pt x="839" y="1141"/>
                      <a:pt x="815" y="1107"/>
                    </a:cubicBezTo>
                    <a:cubicBezTo>
                      <a:pt x="791" y="1074"/>
                      <a:pt x="774" y="1035"/>
                      <a:pt x="765" y="990"/>
                    </a:cubicBezTo>
                    <a:cubicBezTo>
                      <a:pt x="755" y="945"/>
                      <a:pt x="751" y="897"/>
                      <a:pt x="751" y="847"/>
                    </a:cubicBezTo>
                    <a:cubicBezTo>
                      <a:pt x="751" y="812"/>
                      <a:pt x="752" y="776"/>
                      <a:pt x="755" y="740"/>
                    </a:cubicBezTo>
                    <a:cubicBezTo>
                      <a:pt x="759" y="704"/>
                      <a:pt x="763" y="669"/>
                      <a:pt x="769" y="633"/>
                    </a:cubicBezTo>
                    <a:cubicBezTo>
                      <a:pt x="786" y="519"/>
                      <a:pt x="809" y="421"/>
                      <a:pt x="838" y="341"/>
                    </a:cubicBezTo>
                    <a:cubicBezTo>
                      <a:pt x="867" y="261"/>
                      <a:pt x="902" y="196"/>
                      <a:pt x="942" y="145"/>
                    </a:cubicBezTo>
                    <a:cubicBezTo>
                      <a:pt x="982" y="94"/>
                      <a:pt x="1027" y="57"/>
                      <a:pt x="1079" y="34"/>
                    </a:cubicBezTo>
                    <a:cubicBezTo>
                      <a:pt x="1130" y="11"/>
                      <a:pt x="1187" y="0"/>
                      <a:pt x="1250" y="0"/>
                    </a:cubicBezTo>
                    <a:cubicBezTo>
                      <a:pt x="1312" y="0"/>
                      <a:pt x="1364" y="10"/>
                      <a:pt x="1404" y="30"/>
                    </a:cubicBezTo>
                    <a:cubicBezTo>
                      <a:pt x="1445" y="50"/>
                      <a:pt x="1477" y="77"/>
                      <a:pt x="1500" y="111"/>
                    </a:cubicBezTo>
                    <a:cubicBezTo>
                      <a:pt x="1524" y="145"/>
                      <a:pt x="1540" y="185"/>
                      <a:pt x="1549" y="230"/>
                    </a:cubicBezTo>
                    <a:cubicBezTo>
                      <a:pt x="1559" y="274"/>
                      <a:pt x="1563" y="322"/>
                      <a:pt x="1563" y="371"/>
                    </a:cubicBezTo>
                    <a:cubicBezTo>
                      <a:pt x="1563" y="406"/>
                      <a:pt x="1562" y="441"/>
                      <a:pt x="1558" y="477"/>
                    </a:cubicBezTo>
                    <a:cubicBezTo>
                      <a:pt x="1555" y="512"/>
                      <a:pt x="1551" y="548"/>
                      <a:pt x="1545" y="583"/>
                    </a:cubicBezTo>
                    <a:cubicBezTo>
                      <a:pt x="1527" y="702"/>
                      <a:pt x="1502" y="802"/>
                      <a:pt x="1472" y="883"/>
                    </a:cubicBezTo>
                    <a:cubicBezTo>
                      <a:pt x="1442" y="964"/>
                      <a:pt x="1407" y="1029"/>
                      <a:pt x="1367" y="1078"/>
                    </a:cubicBezTo>
                    <a:cubicBezTo>
                      <a:pt x="1327" y="1128"/>
                      <a:pt x="1282" y="1163"/>
                      <a:pt x="1231" y="1184"/>
                    </a:cubicBezTo>
                    <a:cubicBezTo>
                      <a:pt x="1180" y="1206"/>
                      <a:pt x="1124" y="1216"/>
                      <a:pt x="1064" y="1216"/>
                    </a:cubicBezTo>
                    <a:cubicBezTo>
                      <a:pt x="1002" y="1216"/>
                      <a:pt x="950" y="1206"/>
                      <a:pt x="910" y="1187"/>
                    </a:cubicBezTo>
                    <a:close/>
                    <a:moveTo>
                      <a:pt x="1033" y="944"/>
                    </a:moveTo>
                    <a:cubicBezTo>
                      <a:pt x="1045" y="960"/>
                      <a:pt x="1065" y="968"/>
                      <a:pt x="1094" y="968"/>
                    </a:cubicBezTo>
                    <a:cubicBezTo>
                      <a:pt x="1114" y="968"/>
                      <a:pt x="1132" y="963"/>
                      <a:pt x="1147" y="954"/>
                    </a:cubicBezTo>
                    <a:cubicBezTo>
                      <a:pt x="1162" y="944"/>
                      <a:pt x="1176" y="926"/>
                      <a:pt x="1189" y="899"/>
                    </a:cubicBezTo>
                    <a:cubicBezTo>
                      <a:pt x="1202" y="873"/>
                      <a:pt x="1214" y="837"/>
                      <a:pt x="1226" y="789"/>
                    </a:cubicBezTo>
                    <a:cubicBezTo>
                      <a:pt x="1237" y="742"/>
                      <a:pt x="1250" y="682"/>
                      <a:pt x="1264" y="607"/>
                    </a:cubicBezTo>
                    <a:cubicBezTo>
                      <a:pt x="1275" y="551"/>
                      <a:pt x="1284" y="503"/>
                      <a:pt x="1289" y="463"/>
                    </a:cubicBezTo>
                    <a:cubicBezTo>
                      <a:pt x="1295" y="422"/>
                      <a:pt x="1297" y="388"/>
                      <a:pt x="1297" y="359"/>
                    </a:cubicBezTo>
                    <a:cubicBezTo>
                      <a:pt x="1297" y="320"/>
                      <a:pt x="1291" y="291"/>
                      <a:pt x="1278" y="273"/>
                    </a:cubicBezTo>
                    <a:cubicBezTo>
                      <a:pt x="1266" y="255"/>
                      <a:pt x="1245" y="246"/>
                      <a:pt x="1215" y="246"/>
                    </a:cubicBezTo>
                    <a:cubicBezTo>
                      <a:pt x="1195" y="246"/>
                      <a:pt x="1179" y="250"/>
                      <a:pt x="1164" y="259"/>
                    </a:cubicBezTo>
                    <a:cubicBezTo>
                      <a:pt x="1150" y="268"/>
                      <a:pt x="1137" y="285"/>
                      <a:pt x="1124" y="311"/>
                    </a:cubicBezTo>
                    <a:cubicBezTo>
                      <a:pt x="1111" y="337"/>
                      <a:pt x="1099" y="373"/>
                      <a:pt x="1087" y="421"/>
                    </a:cubicBezTo>
                    <a:cubicBezTo>
                      <a:pt x="1075" y="468"/>
                      <a:pt x="1062" y="531"/>
                      <a:pt x="1048" y="607"/>
                    </a:cubicBezTo>
                    <a:cubicBezTo>
                      <a:pt x="1038" y="664"/>
                      <a:pt x="1030" y="713"/>
                      <a:pt x="1024" y="755"/>
                    </a:cubicBezTo>
                    <a:cubicBezTo>
                      <a:pt x="1018" y="797"/>
                      <a:pt x="1015" y="832"/>
                      <a:pt x="1015" y="860"/>
                    </a:cubicBezTo>
                    <a:cubicBezTo>
                      <a:pt x="1015" y="898"/>
                      <a:pt x="1021" y="926"/>
                      <a:pt x="1033" y="944"/>
                    </a:cubicBezTo>
                    <a:close/>
                    <a:moveTo>
                      <a:pt x="1787" y="1187"/>
                    </a:moveTo>
                    <a:cubicBezTo>
                      <a:pt x="1747" y="1167"/>
                      <a:pt x="1715" y="1141"/>
                      <a:pt x="1691" y="1107"/>
                    </a:cubicBezTo>
                    <a:cubicBezTo>
                      <a:pt x="1667" y="1074"/>
                      <a:pt x="1651" y="1035"/>
                      <a:pt x="1641" y="990"/>
                    </a:cubicBezTo>
                    <a:cubicBezTo>
                      <a:pt x="1632" y="945"/>
                      <a:pt x="1627" y="897"/>
                      <a:pt x="1627" y="847"/>
                    </a:cubicBezTo>
                    <a:cubicBezTo>
                      <a:pt x="1627" y="812"/>
                      <a:pt x="1629" y="776"/>
                      <a:pt x="1632" y="740"/>
                    </a:cubicBezTo>
                    <a:cubicBezTo>
                      <a:pt x="1635" y="704"/>
                      <a:pt x="1640" y="669"/>
                      <a:pt x="1645" y="633"/>
                    </a:cubicBezTo>
                    <a:cubicBezTo>
                      <a:pt x="1663" y="519"/>
                      <a:pt x="1686" y="421"/>
                      <a:pt x="1715" y="341"/>
                    </a:cubicBezTo>
                    <a:cubicBezTo>
                      <a:pt x="1744" y="261"/>
                      <a:pt x="1779" y="196"/>
                      <a:pt x="1819" y="145"/>
                    </a:cubicBezTo>
                    <a:cubicBezTo>
                      <a:pt x="1859" y="94"/>
                      <a:pt x="1904" y="57"/>
                      <a:pt x="1956" y="34"/>
                    </a:cubicBezTo>
                    <a:cubicBezTo>
                      <a:pt x="2007" y="11"/>
                      <a:pt x="2064" y="0"/>
                      <a:pt x="2126" y="0"/>
                    </a:cubicBezTo>
                    <a:cubicBezTo>
                      <a:pt x="2189" y="0"/>
                      <a:pt x="2240" y="10"/>
                      <a:pt x="2281" y="30"/>
                    </a:cubicBezTo>
                    <a:cubicBezTo>
                      <a:pt x="2321" y="50"/>
                      <a:pt x="2353" y="77"/>
                      <a:pt x="2377" y="111"/>
                    </a:cubicBezTo>
                    <a:cubicBezTo>
                      <a:pt x="2400" y="145"/>
                      <a:pt x="2417" y="185"/>
                      <a:pt x="2426" y="230"/>
                    </a:cubicBezTo>
                    <a:cubicBezTo>
                      <a:pt x="2435" y="274"/>
                      <a:pt x="2440" y="322"/>
                      <a:pt x="2440" y="371"/>
                    </a:cubicBezTo>
                    <a:cubicBezTo>
                      <a:pt x="2440" y="406"/>
                      <a:pt x="2438" y="441"/>
                      <a:pt x="2435" y="477"/>
                    </a:cubicBezTo>
                    <a:cubicBezTo>
                      <a:pt x="2432" y="512"/>
                      <a:pt x="2427" y="548"/>
                      <a:pt x="2422" y="583"/>
                    </a:cubicBezTo>
                    <a:cubicBezTo>
                      <a:pt x="2403" y="702"/>
                      <a:pt x="2379" y="802"/>
                      <a:pt x="2349" y="883"/>
                    </a:cubicBezTo>
                    <a:cubicBezTo>
                      <a:pt x="2319" y="964"/>
                      <a:pt x="2284" y="1029"/>
                      <a:pt x="2244" y="1078"/>
                    </a:cubicBezTo>
                    <a:cubicBezTo>
                      <a:pt x="2204" y="1128"/>
                      <a:pt x="2158" y="1163"/>
                      <a:pt x="2108" y="1184"/>
                    </a:cubicBezTo>
                    <a:cubicBezTo>
                      <a:pt x="2057" y="1206"/>
                      <a:pt x="2001" y="1216"/>
                      <a:pt x="1941" y="1216"/>
                    </a:cubicBezTo>
                    <a:cubicBezTo>
                      <a:pt x="1878" y="1216"/>
                      <a:pt x="1827" y="1206"/>
                      <a:pt x="1787" y="1187"/>
                    </a:cubicBezTo>
                    <a:close/>
                    <a:moveTo>
                      <a:pt x="1910" y="944"/>
                    </a:moveTo>
                    <a:cubicBezTo>
                      <a:pt x="1922" y="960"/>
                      <a:pt x="1942" y="968"/>
                      <a:pt x="1970" y="968"/>
                    </a:cubicBezTo>
                    <a:cubicBezTo>
                      <a:pt x="1991" y="968"/>
                      <a:pt x="2009" y="963"/>
                      <a:pt x="2024" y="954"/>
                    </a:cubicBezTo>
                    <a:cubicBezTo>
                      <a:pt x="2039" y="944"/>
                      <a:pt x="2053" y="926"/>
                      <a:pt x="2066" y="899"/>
                    </a:cubicBezTo>
                    <a:cubicBezTo>
                      <a:pt x="2079" y="873"/>
                      <a:pt x="2091" y="837"/>
                      <a:pt x="2103" y="789"/>
                    </a:cubicBezTo>
                    <a:cubicBezTo>
                      <a:pt x="2114" y="742"/>
                      <a:pt x="2127" y="682"/>
                      <a:pt x="2141" y="607"/>
                    </a:cubicBezTo>
                    <a:cubicBezTo>
                      <a:pt x="2152" y="551"/>
                      <a:pt x="2160" y="503"/>
                      <a:pt x="2166" y="463"/>
                    </a:cubicBezTo>
                    <a:cubicBezTo>
                      <a:pt x="2171" y="422"/>
                      <a:pt x="2174" y="388"/>
                      <a:pt x="2174" y="359"/>
                    </a:cubicBezTo>
                    <a:cubicBezTo>
                      <a:pt x="2174" y="320"/>
                      <a:pt x="2168" y="291"/>
                      <a:pt x="2155" y="273"/>
                    </a:cubicBezTo>
                    <a:cubicBezTo>
                      <a:pt x="2143" y="255"/>
                      <a:pt x="2121" y="246"/>
                      <a:pt x="2092" y="246"/>
                    </a:cubicBezTo>
                    <a:cubicBezTo>
                      <a:pt x="2072" y="246"/>
                      <a:pt x="2055" y="250"/>
                      <a:pt x="2041" y="259"/>
                    </a:cubicBezTo>
                    <a:cubicBezTo>
                      <a:pt x="2027" y="268"/>
                      <a:pt x="2013" y="285"/>
                      <a:pt x="2001" y="311"/>
                    </a:cubicBezTo>
                    <a:cubicBezTo>
                      <a:pt x="1988" y="337"/>
                      <a:pt x="1976" y="373"/>
                      <a:pt x="1964" y="421"/>
                    </a:cubicBezTo>
                    <a:cubicBezTo>
                      <a:pt x="1952" y="468"/>
                      <a:pt x="1939" y="531"/>
                      <a:pt x="1924" y="607"/>
                    </a:cubicBezTo>
                    <a:cubicBezTo>
                      <a:pt x="1915" y="664"/>
                      <a:pt x="1907" y="713"/>
                      <a:pt x="1901" y="755"/>
                    </a:cubicBezTo>
                    <a:cubicBezTo>
                      <a:pt x="1895" y="797"/>
                      <a:pt x="1892" y="832"/>
                      <a:pt x="1892" y="860"/>
                    </a:cubicBezTo>
                    <a:cubicBezTo>
                      <a:pt x="1892" y="898"/>
                      <a:pt x="1898" y="926"/>
                      <a:pt x="1910" y="944"/>
                    </a:cubicBezTo>
                    <a:close/>
                  </a:path>
                </a:pathLst>
              </a:custGeom>
              <a:solidFill>
                <a:srgbClr val="00B2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36" tIns="45719" rIns="91436" bIns="4571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4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799" b="0" i="0" u="none" strike="noStrike" kern="0" cap="none" spc="0" normalizeH="0" baseline="0" noProof="0">
                  <a:ln>
                    <a:noFill/>
                  </a:ln>
                  <a:solidFill>
                    <a:srgbClr val="00B2A9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52" name="Oval 27">
                <a:extLst>
                  <a:ext uri="{FF2B5EF4-FFF2-40B4-BE49-F238E27FC236}">
                    <a16:creationId xmlns:a16="http://schemas.microsoft.com/office/drawing/2014/main" id="{AB488016-E70F-4E9F-9F7F-BA36829384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76775" y="4572347"/>
                <a:ext cx="793677" cy="743703"/>
              </a:xfrm>
              <a:prstGeom prst="ellipse">
                <a:avLst/>
              </a:prstGeom>
              <a:solidFill>
                <a:srgbClr val="00B2A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36" tIns="45719" rIns="91436" bIns="4571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4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799" b="0" i="0" u="none" strike="noStrike" kern="0" cap="none" spc="0" normalizeH="0" baseline="0" noProof="0">
                  <a:ln>
                    <a:noFill/>
                  </a:ln>
                  <a:solidFill>
                    <a:srgbClr val="00B2A9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</p:grpSp>
        <mc:AlternateContent xmlns:mc="http://schemas.openxmlformats.org/markup-compatibility/2006">
          <mc:Choice xmlns:am3d="http://schemas.microsoft.com/office/drawing/2017/model3d" Requires="am3d">
            <p:graphicFrame>
              <p:nvGraphicFramePr>
                <p:cNvPr id="49" name="Espaço Reservado para Conteúdo 14">
                  <a:extLst>
                    <a:ext uri="{FF2B5EF4-FFF2-40B4-BE49-F238E27FC236}">
                      <a16:creationId xmlns:a16="http://schemas.microsoft.com/office/drawing/2014/main" id="{C067050F-01D3-4A5F-8020-4714DB22FFF1}"/>
                    </a:ext>
                  </a:extLst>
                </p:cNvPr>
                <p:cNvGraphicFramePr>
                  <a:graphicFrameLocks noChangeAspect="1"/>
                </p:cNvGraphicFramePr>
                <p:nvPr userDrawn="1"/>
              </p:nvGraphicFramePr>
              <p:xfrm>
                <a:off x="539552" y="1011467"/>
                <a:ext cx="535595" cy="600217"/>
              </p:xfrm>
              <a:graphic>
                <a:graphicData uri="http://schemas.microsoft.com/office/drawing/2017/model3d">
                  <am3d:model3d r:embed="rId2">
                    <am3d:spPr>
                      <a:xfrm>
                        <a:off x="0" y="0"/>
                        <a:ext cx="535595" cy="600217"/>
                      </a:xfrm>
                      <a:prstGeom prst="rect">
                        <a:avLst/>
                      </a:prstGeom>
                    </am3d:spPr>
                    <am3d:camera>
                      <am3d:pos x="0" y="0" z="81469184"/>
                      <am3d:up dx="0" dy="36000000" dz="0"/>
                      <am3d:lookAt x="0" y="0" z="0"/>
                      <am3d:perspective fov="2700000"/>
                    </am3d:camera>
                    <am3d:trans>
                      <am3d:meterPerModelUnit n="466093" d="1000000"/>
                      <am3d:preTrans dx="-36352141" dy="-16847072" dz="-217484733"/>
                      <am3d:scale>
                        <am3d:sx n="1000000" d="1000000"/>
                        <am3d:sy n="1000000" d="1000000"/>
                        <am3d:sz n="1000000" d="1000000"/>
                      </am3d:scale>
                      <am3d:rot ax="9102163" ay="1685958" az="9905867"/>
                      <am3d:postTrans dx="0" dy="0" dz="0"/>
                    </am3d:trans>
                    <am3d:raster rName="Office3DRenderer" rVer="16.0.8326">
                      <am3d:blip r:embed="rId3"/>
                    </am3d:raster>
                    <am3d:objViewport viewportSz="618195"/>
                    <am3d:ambientLight>
                      <am3d:clr>
                        <a:scrgbClr r="50000" g="50000" b="50000"/>
                      </am3d:clr>
                      <am3d:illuminance n="500000" d="1000000"/>
                    </am3d:ambientLight>
                    <am3d:ptLight rad="0">
                      <am3d:clr>
                        <a:scrgbClr r="100000" g="75000" b="50000"/>
                      </am3d:clr>
                      <am3d:intensity n="9765625" d="1000000"/>
                      <am3d:pos x="21959998" y="70920001" z="16344003"/>
                    </am3d:ptLight>
                    <am3d:ptLight rad="0">
                      <am3d:clr>
                        <a:scrgbClr r="40000" g="60000" b="95000"/>
                      </am3d:clr>
                      <am3d:intensity n="12250000" d="1000000"/>
                      <am3d:pos x="-37964106" y="51130435" z="57631972"/>
                    </am3d:ptLight>
                    <am3d:ptLight rad="0">
                      <am3d:clr>
                        <a:scrgbClr r="86837" g="72700" b="100000"/>
                      </am3d:clr>
                      <am3d:intensity n="3125000" d="1000000"/>
                      <am3d:pos x="-37739122" y="58056624" z="-34769649"/>
                    </am3d:ptLight>
                  </am3d:model3d>
                </a:graphicData>
              </a:graphic>
            </p:graphicFrame>
          </mc:Choice>
          <mc:Fallback>
            <p:pic>
              <p:nvPicPr>
                <p:cNvPr id="49" name="Espaço Reservado para Conteúdo 14">
                  <a:extLst>
                    <a:ext uri="{FF2B5EF4-FFF2-40B4-BE49-F238E27FC236}">
                      <a16:creationId xmlns:a16="http://schemas.microsoft.com/office/drawing/2014/main" id="{C067050F-01D3-4A5F-8020-4714DB22FFF1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286001" y="177757"/>
                  <a:ext cx="535595" cy="600217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8F207D08-7FE5-47BE-BCFD-4782F4F69A75}"/>
              </a:ext>
            </a:extLst>
          </p:cNvPr>
          <p:cNvSpPr txBox="1"/>
          <p:nvPr userDrawn="1"/>
        </p:nvSpPr>
        <p:spPr>
          <a:xfrm>
            <a:off x="329721" y="1893087"/>
            <a:ext cx="2836080" cy="408680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SOLUÇÃ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97E9BBDD-E6F0-4FA1-A0AA-35E4B8C6AEC4}"/>
              </a:ext>
            </a:extLst>
          </p:cNvPr>
          <p:cNvSpPr txBox="1"/>
          <p:nvPr userDrawn="1"/>
        </p:nvSpPr>
        <p:spPr>
          <a:xfrm>
            <a:off x="3245830" y="1893087"/>
            <a:ext cx="2836080" cy="408680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DIFERENCI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b="0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3705865F-EB83-40C6-A397-D5ECC1436A92}"/>
              </a:ext>
            </a:extLst>
          </p:cNvPr>
          <p:cNvSpPr txBox="1"/>
          <p:nvPr userDrawn="1"/>
        </p:nvSpPr>
        <p:spPr>
          <a:xfrm>
            <a:off x="6161939" y="1893087"/>
            <a:ext cx="2836080" cy="408680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RESULTADOS ESPERADO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b="0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2DB1616D-AC2D-4CAC-AB50-07D4B46CA107}"/>
              </a:ext>
            </a:extLst>
          </p:cNvPr>
          <p:cNvSpPr txBox="1"/>
          <p:nvPr userDrawn="1"/>
        </p:nvSpPr>
        <p:spPr>
          <a:xfrm>
            <a:off x="9078048" y="1893087"/>
            <a:ext cx="2836080" cy="4086802"/>
          </a:xfrm>
          <a:prstGeom prst="rect">
            <a:avLst/>
          </a:prstGeom>
          <a:solidFill>
            <a:srgbClr val="E6E6E6"/>
          </a:solidFill>
          <a:ln>
            <a:solidFill>
              <a:schemeClr val="bg1"/>
            </a:solidFill>
          </a:ln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>
                <a:solidFill>
                  <a:srgbClr val="675C53"/>
                </a:solidFill>
                <a:latin typeface="Trebuchet MS" panose="020B0603020202020204" pitchFamily="34" charset="0"/>
              </a:rPr>
              <a:t>RISCO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675C53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grpSp>
        <p:nvGrpSpPr>
          <p:cNvPr id="59" name="Agrupar 58">
            <a:extLst>
              <a:ext uri="{FF2B5EF4-FFF2-40B4-BE49-F238E27FC236}">
                <a16:creationId xmlns:a16="http://schemas.microsoft.com/office/drawing/2014/main" id="{503CA035-2DEC-4187-9DB2-ECB834A47C17}"/>
              </a:ext>
            </a:extLst>
          </p:cNvPr>
          <p:cNvGrpSpPr/>
          <p:nvPr userDrawn="1"/>
        </p:nvGrpSpPr>
        <p:grpSpPr>
          <a:xfrm>
            <a:off x="6648574" y="6243272"/>
            <a:ext cx="5712270" cy="539026"/>
            <a:chOff x="6648574" y="6243272"/>
            <a:chExt cx="5712270" cy="539026"/>
          </a:xfrm>
        </p:grpSpPr>
        <p:grpSp>
          <p:nvGrpSpPr>
            <p:cNvPr id="60" name="Agrupar 59">
              <a:extLst>
                <a:ext uri="{FF2B5EF4-FFF2-40B4-BE49-F238E27FC236}">
                  <a16:creationId xmlns:a16="http://schemas.microsoft.com/office/drawing/2014/main" id="{C6B0F095-C0DF-4A2B-B75D-04B955030246}"/>
                </a:ext>
              </a:extLst>
            </p:cNvPr>
            <p:cNvGrpSpPr/>
            <p:nvPr/>
          </p:nvGrpSpPr>
          <p:grpSpPr>
            <a:xfrm>
              <a:off x="6648574" y="6243272"/>
              <a:ext cx="5712270" cy="539026"/>
              <a:chOff x="4365606" y="269074"/>
              <a:chExt cx="4764273" cy="539026"/>
            </a:xfrm>
          </p:grpSpPr>
          <p:cxnSp>
            <p:nvCxnSpPr>
              <p:cNvPr id="62" name="Conector reto 16">
                <a:extLst>
                  <a:ext uri="{FF2B5EF4-FFF2-40B4-BE49-F238E27FC236}">
                    <a16:creationId xmlns:a16="http://schemas.microsoft.com/office/drawing/2014/main" id="{798FD16C-D7EE-4347-B3E7-FBAC1C1B8B9B}"/>
                  </a:ext>
                </a:extLst>
              </p:cNvPr>
              <p:cNvCxnSpPr>
                <a:cxnSpLocks/>
                <a:endCxn id="71" idx="2"/>
              </p:cNvCxnSpPr>
              <p:nvPr/>
            </p:nvCxnSpPr>
            <p:spPr>
              <a:xfrm>
                <a:off x="5807452" y="406186"/>
                <a:ext cx="2732160" cy="13776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Fluxograma: Conector 17">
                <a:extLst>
                  <a:ext uri="{FF2B5EF4-FFF2-40B4-BE49-F238E27FC236}">
                    <a16:creationId xmlns:a16="http://schemas.microsoft.com/office/drawing/2014/main" id="{27C0A9DC-491B-4E58-9B82-14EA1D73E9D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334" y="280185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Fluxograma: Conector 20">
                <a:extLst>
                  <a:ext uri="{FF2B5EF4-FFF2-40B4-BE49-F238E27FC236}">
                    <a16:creationId xmlns:a16="http://schemas.microsoft.com/office/drawing/2014/main" id="{7F829698-7297-4022-9BD3-35C4C912A62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800775" y="270845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CaixaDeTexto 64">
                <a:extLst>
                  <a:ext uri="{FF2B5EF4-FFF2-40B4-BE49-F238E27FC236}">
                    <a16:creationId xmlns:a16="http://schemas.microsoft.com/office/drawing/2014/main" id="{3545B6F8-2C0C-4F2E-8AFB-954FC82A5215}"/>
                  </a:ext>
                </a:extLst>
              </p:cNvPr>
              <p:cNvSpPr txBox="1"/>
              <p:nvPr/>
            </p:nvSpPr>
            <p:spPr>
              <a:xfrm>
                <a:off x="5347952" y="558125"/>
                <a:ext cx="83469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95000"/>
                      </a:prstClr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Ideação</a:t>
                </a:r>
              </a:p>
            </p:txBody>
          </p:sp>
          <p:sp>
            <p:nvSpPr>
              <p:cNvPr id="66" name="CaixaDeTexto 65">
                <a:extLst>
                  <a:ext uri="{FF2B5EF4-FFF2-40B4-BE49-F238E27FC236}">
                    <a16:creationId xmlns:a16="http://schemas.microsoft.com/office/drawing/2014/main" id="{FA5BE3CD-C486-4E40-BB8D-5B420BEB5A93}"/>
                  </a:ext>
                </a:extLst>
              </p:cNvPr>
              <p:cNvSpPr txBox="1"/>
              <p:nvPr/>
            </p:nvSpPr>
            <p:spPr>
              <a:xfrm>
                <a:off x="6089375" y="558125"/>
                <a:ext cx="61375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95000"/>
                      </a:prstClr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Pesquisa</a:t>
                </a:r>
              </a:p>
            </p:txBody>
          </p:sp>
          <p:sp>
            <p:nvSpPr>
              <p:cNvPr id="67" name="CaixaDeTexto 66">
                <a:extLst>
                  <a:ext uri="{FF2B5EF4-FFF2-40B4-BE49-F238E27FC236}">
                    <a16:creationId xmlns:a16="http://schemas.microsoft.com/office/drawing/2014/main" id="{CEF484FB-92CC-45E3-B87F-F0B8380EB2F9}"/>
                  </a:ext>
                </a:extLst>
              </p:cNvPr>
              <p:cNvSpPr txBox="1"/>
              <p:nvPr/>
            </p:nvSpPr>
            <p:spPr>
              <a:xfrm>
                <a:off x="6636974" y="558125"/>
                <a:ext cx="93882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95000"/>
                      </a:prstClr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Experimentação</a:t>
                </a:r>
              </a:p>
            </p:txBody>
          </p:sp>
          <p:sp>
            <p:nvSpPr>
              <p:cNvPr id="68" name="CaixaDeTexto 67">
                <a:extLst>
                  <a:ext uri="{FF2B5EF4-FFF2-40B4-BE49-F238E27FC236}">
                    <a16:creationId xmlns:a16="http://schemas.microsoft.com/office/drawing/2014/main" id="{D687A6C7-FFE8-4A11-B5C5-C3B324281D82}"/>
                  </a:ext>
                </a:extLst>
              </p:cNvPr>
              <p:cNvSpPr txBox="1"/>
              <p:nvPr/>
            </p:nvSpPr>
            <p:spPr>
              <a:xfrm>
                <a:off x="4365606" y="318367"/>
                <a:ext cx="970855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B2A9"/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FASE DO PRODUTO</a:t>
                </a:r>
              </a:p>
            </p:txBody>
          </p:sp>
          <p:sp>
            <p:nvSpPr>
              <p:cNvPr id="69" name="Fluxograma: Conector 19">
                <a:extLst>
                  <a:ext uri="{FF2B5EF4-FFF2-40B4-BE49-F238E27FC236}">
                    <a16:creationId xmlns:a16="http://schemas.microsoft.com/office/drawing/2014/main" id="{61141EB2-2F94-48AF-B895-214CDE4B26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91892" y="269074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0" name="CaixaDeTexto 69">
                <a:extLst>
                  <a:ext uri="{FF2B5EF4-FFF2-40B4-BE49-F238E27FC236}">
                    <a16:creationId xmlns:a16="http://schemas.microsoft.com/office/drawing/2014/main" id="{C7BF895A-53E1-4364-ADE5-D2EDF41051FC}"/>
                  </a:ext>
                </a:extLst>
              </p:cNvPr>
              <p:cNvSpPr txBox="1"/>
              <p:nvPr/>
            </p:nvSpPr>
            <p:spPr>
              <a:xfrm>
                <a:off x="7461140" y="560930"/>
                <a:ext cx="93882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95000"/>
                      </a:prstClr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Implementação</a:t>
                </a:r>
              </a:p>
            </p:txBody>
          </p:sp>
          <p:sp>
            <p:nvSpPr>
              <p:cNvPr id="71" name="Fluxograma: Conector 20">
                <a:extLst>
                  <a:ext uri="{FF2B5EF4-FFF2-40B4-BE49-F238E27FC236}">
                    <a16:creationId xmlns:a16="http://schemas.microsoft.com/office/drawing/2014/main" id="{AC3D0A76-5993-4E1B-AC80-45328C5B2F4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539612" y="275962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CaixaDeTexto 71">
                <a:extLst>
                  <a:ext uri="{FF2B5EF4-FFF2-40B4-BE49-F238E27FC236}">
                    <a16:creationId xmlns:a16="http://schemas.microsoft.com/office/drawing/2014/main" id="{F8EC2C32-7481-4D8A-AEA7-650EFE53B272}"/>
                  </a:ext>
                </a:extLst>
              </p:cNvPr>
              <p:cNvSpPr txBox="1"/>
              <p:nvPr/>
            </p:nvSpPr>
            <p:spPr>
              <a:xfrm>
                <a:off x="8191059" y="561879"/>
                <a:ext cx="93882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sz="1200">
                    <a:solidFill>
                      <a:schemeClr val="bg1"/>
                    </a:solidFill>
                    <a:latin typeface="FS Elliot Pro" panose="02000503040000020004" pitchFamily="50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95000"/>
                      </a:prstClr>
                    </a:solidFill>
                    <a:effectLst/>
                    <a:uLnTx/>
                    <a:uFillTx/>
                    <a:latin typeface="Trebuchet MS" panose="020B0603020202020204" pitchFamily="34" charset="0"/>
                  </a:rPr>
                  <a:t>Ativação</a:t>
                </a:r>
              </a:p>
            </p:txBody>
          </p:sp>
          <p:sp>
            <p:nvSpPr>
              <p:cNvPr id="84" name="Fluxograma: Conector 19">
                <a:extLst>
                  <a:ext uri="{FF2B5EF4-FFF2-40B4-BE49-F238E27FC236}">
                    <a16:creationId xmlns:a16="http://schemas.microsoft.com/office/drawing/2014/main" id="{6E4EE595-D0A5-4CAD-8BA2-77D630BDB2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970135" y="269074"/>
                <a:ext cx="240204" cy="288000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cxnSp>
          <p:nvCxnSpPr>
            <p:cNvPr id="61" name="Conector reto 60">
              <a:extLst>
                <a:ext uri="{FF2B5EF4-FFF2-40B4-BE49-F238E27FC236}">
                  <a16:creationId xmlns:a16="http://schemas.microsoft.com/office/drawing/2014/main" id="{7AE777B2-6E0C-4796-B70A-C0392EE6EDAB}"/>
                </a:ext>
              </a:extLst>
            </p:cNvPr>
            <p:cNvCxnSpPr/>
            <p:nvPr/>
          </p:nvCxnSpPr>
          <p:spPr>
            <a:xfrm>
              <a:off x="7811872" y="6302365"/>
              <a:ext cx="0" cy="413038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Retângulo 90">
            <a:extLst>
              <a:ext uri="{FF2B5EF4-FFF2-40B4-BE49-F238E27FC236}">
                <a16:creationId xmlns:a16="http://schemas.microsoft.com/office/drawing/2014/main" id="{A4C538BC-1B9A-456F-893E-A7B4708AF98E}"/>
              </a:ext>
            </a:extLst>
          </p:cNvPr>
          <p:cNvSpPr/>
          <p:nvPr userDrawn="1"/>
        </p:nvSpPr>
        <p:spPr>
          <a:xfrm>
            <a:off x="300515" y="5241110"/>
            <a:ext cx="11628126" cy="753293"/>
          </a:xfrm>
          <a:prstGeom prst="rect">
            <a:avLst/>
          </a:prstGeom>
          <a:solidFill>
            <a:srgbClr val="006298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3" name="Gráfico 92" descr="Diamante com preenchimento sólido">
            <a:extLst>
              <a:ext uri="{FF2B5EF4-FFF2-40B4-BE49-F238E27FC236}">
                <a16:creationId xmlns:a16="http://schemas.microsoft.com/office/drawing/2014/main" id="{8D613C7F-E61B-4049-B9C8-2143FA04E1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86758" y="5282307"/>
            <a:ext cx="648000" cy="648000"/>
          </a:xfrm>
          <a:prstGeom prst="rect">
            <a:avLst/>
          </a:prstGeom>
        </p:spPr>
      </p:pic>
      <p:pic>
        <p:nvPicPr>
          <p:cNvPr id="94" name="Gráfico 93" descr="Na mosca com preenchimento sólido">
            <a:extLst>
              <a:ext uri="{FF2B5EF4-FFF2-40B4-BE49-F238E27FC236}">
                <a16:creationId xmlns:a16="http://schemas.microsoft.com/office/drawing/2014/main" id="{FE93AB3B-8810-4251-A8CB-A4EB1F3652E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80142" y="5282307"/>
            <a:ext cx="648000" cy="648000"/>
          </a:xfrm>
          <a:prstGeom prst="rect">
            <a:avLst/>
          </a:prstGeom>
        </p:spPr>
      </p:pic>
      <p:pic>
        <p:nvPicPr>
          <p:cNvPr id="95" name="Gráfico 94" descr="Aviso com preenchimento sólido">
            <a:extLst>
              <a:ext uri="{FF2B5EF4-FFF2-40B4-BE49-F238E27FC236}">
                <a16:creationId xmlns:a16="http://schemas.microsoft.com/office/drawing/2014/main" id="{C8CBD99F-2452-4049-84DD-494977CB8D5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73527" y="5282307"/>
            <a:ext cx="648000" cy="648000"/>
          </a:xfrm>
          <a:prstGeom prst="rect">
            <a:avLst/>
          </a:prstGeom>
        </p:spPr>
      </p:pic>
      <p:pic>
        <p:nvPicPr>
          <p:cNvPr id="96" name="Gráfico 95" descr="Caixa de embalagem aberta com preenchimento sólido">
            <a:extLst>
              <a:ext uri="{FF2B5EF4-FFF2-40B4-BE49-F238E27FC236}">
                <a16:creationId xmlns:a16="http://schemas.microsoft.com/office/drawing/2014/main" id="{94169B08-89E3-4169-8B8B-BCD66397159F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493374" y="5282307"/>
            <a:ext cx="648000" cy="648000"/>
          </a:xfrm>
          <a:prstGeom prst="rect">
            <a:avLst/>
          </a:prstGeom>
        </p:spPr>
      </p:pic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C116DF3-926B-446C-BF00-E038DFED8A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721" y="2432712"/>
            <a:ext cx="2836080" cy="2475870"/>
          </a:xfrm>
        </p:spPr>
        <p:txBody>
          <a:bodyPr>
            <a:noAutofit/>
          </a:bodyPr>
          <a:lstStyle>
            <a:lvl1pPr marL="0">
              <a:buNone/>
              <a:defRPr sz="1600" b="1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X</a:t>
            </a:r>
          </a:p>
        </p:txBody>
      </p:sp>
      <p:sp>
        <p:nvSpPr>
          <p:cNvPr id="97" name="Espaço Reservado para Texto 4">
            <a:extLst>
              <a:ext uri="{FF2B5EF4-FFF2-40B4-BE49-F238E27FC236}">
                <a16:creationId xmlns:a16="http://schemas.microsoft.com/office/drawing/2014/main" id="{7376BDEC-AA48-46E0-BF48-828869A64B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53087" y="2432712"/>
            <a:ext cx="2836080" cy="2475870"/>
          </a:xfrm>
        </p:spPr>
        <p:txBody>
          <a:bodyPr>
            <a:noAutofit/>
          </a:bodyPr>
          <a:lstStyle>
            <a:lvl1pPr marL="0">
              <a:buNone/>
              <a:defRPr sz="1600" b="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X</a:t>
            </a:r>
          </a:p>
        </p:txBody>
      </p:sp>
      <p:sp>
        <p:nvSpPr>
          <p:cNvPr id="98" name="Espaço Reservado para Texto 4">
            <a:extLst>
              <a:ext uri="{FF2B5EF4-FFF2-40B4-BE49-F238E27FC236}">
                <a16:creationId xmlns:a16="http://schemas.microsoft.com/office/drawing/2014/main" id="{9F5D0143-B8EE-40B1-AFC6-0D3B460E9E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63017" y="2432712"/>
            <a:ext cx="2836080" cy="2475870"/>
          </a:xfrm>
        </p:spPr>
        <p:txBody>
          <a:bodyPr>
            <a:noAutofit/>
          </a:bodyPr>
          <a:lstStyle>
            <a:lvl1pPr marL="0">
              <a:buFont typeface="Wingdings" panose="05000000000000000000" pitchFamily="2" charset="2"/>
              <a:buChar char="§"/>
              <a:defRPr sz="1600" b="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XFAJSFBKBJASFJK AKSJFBJKASBFKJASBFJK</a:t>
            </a:r>
          </a:p>
        </p:txBody>
      </p:sp>
      <p:sp>
        <p:nvSpPr>
          <p:cNvPr id="99" name="Espaço Reservado para Texto 4">
            <a:extLst>
              <a:ext uri="{FF2B5EF4-FFF2-40B4-BE49-F238E27FC236}">
                <a16:creationId xmlns:a16="http://schemas.microsoft.com/office/drawing/2014/main" id="{EAA49BBF-909A-489F-A39A-383186E736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84491" y="2432712"/>
            <a:ext cx="2836080" cy="2475870"/>
          </a:xfrm>
        </p:spPr>
        <p:txBody>
          <a:bodyPr>
            <a:noAutofit/>
          </a:bodyPr>
          <a:lstStyle>
            <a:lvl1pPr marL="0">
              <a:buFont typeface="Wingdings" panose="05000000000000000000" pitchFamily="2" charset="2"/>
              <a:buChar char="§"/>
              <a:defRPr sz="1600" b="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X ASFHASHFUASHF ASUFUIASFHIUASFH</a:t>
            </a:r>
          </a:p>
          <a:p>
            <a:pPr lvl="0"/>
            <a:r>
              <a:rPr lang="pt-BR"/>
              <a:t>ASFAISGFIUAS</a:t>
            </a:r>
          </a:p>
          <a:p>
            <a:pPr lvl="0"/>
            <a:r>
              <a:rPr lang="pt-BR"/>
              <a:t>ASFHASUHFUASHF AUSFHAUSHFOUIASH</a:t>
            </a:r>
          </a:p>
        </p:txBody>
      </p:sp>
      <p:sp>
        <p:nvSpPr>
          <p:cNvPr id="102" name="Espaço Reservado para Texto 4">
            <a:extLst>
              <a:ext uri="{FF2B5EF4-FFF2-40B4-BE49-F238E27FC236}">
                <a16:creationId xmlns:a16="http://schemas.microsoft.com/office/drawing/2014/main" id="{8C068473-2FC8-49CC-80EC-A540AE0BDB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4801" y="1500175"/>
            <a:ext cx="7880062" cy="248198"/>
          </a:xfrm>
        </p:spPr>
        <p:txBody>
          <a:bodyPr>
            <a:noAutofit/>
          </a:bodyPr>
          <a:lstStyle>
            <a:lvl1pPr marL="0">
              <a:buNone/>
              <a:defRPr sz="1600" b="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X</a:t>
            </a:r>
          </a:p>
        </p:txBody>
      </p:sp>
      <p:sp>
        <p:nvSpPr>
          <p:cNvPr id="103" name="Espaço Reservado para Texto 4">
            <a:extLst>
              <a:ext uri="{FF2B5EF4-FFF2-40B4-BE49-F238E27FC236}">
                <a16:creationId xmlns:a16="http://schemas.microsoft.com/office/drawing/2014/main" id="{5718C920-D16F-411E-B6AF-266D02FC5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074892" y="1500175"/>
            <a:ext cx="2844000" cy="248198"/>
          </a:xfrm>
        </p:spPr>
        <p:txBody>
          <a:bodyPr>
            <a:noAutofit/>
          </a:bodyPr>
          <a:lstStyle>
            <a:lvl1pPr marL="0">
              <a:buNone/>
              <a:defRPr sz="1600" b="0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Mês/aa</a:t>
            </a:r>
          </a:p>
        </p:txBody>
      </p:sp>
      <p:pic>
        <p:nvPicPr>
          <p:cNvPr id="104" name="Imagem 103" descr="Texto, Logotipo&#10;&#10;Descrição gerada automaticamente">
            <a:extLst>
              <a:ext uri="{FF2B5EF4-FFF2-40B4-BE49-F238E27FC236}">
                <a16:creationId xmlns:a16="http://schemas.microsoft.com/office/drawing/2014/main" id="{E4209E04-FF9B-4656-942D-AFC33EDD0E6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402" y="190048"/>
            <a:ext cx="1487783" cy="377564"/>
          </a:xfrm>
          <a:prstGeom prst="rect">
            <a:avLst/>
          </a:prstGeom>
        </p:spPr>
      </p:pic>
      <p:sp>
        <p:nvSpPr>
          <p:cNvPr id="107" name="Espaço Reservado para Texto 4">
            <a:extLst>
              <a:ext uri="{FF2B5EF4-FFF2-40B4-BE49-F238E27FC236}">
                <a16:creationId xmlns:a16="http://schemas.microsoft.com/office/drawing/2014/main" id="{1E230416-F26A-4AB0-9647-C875F606B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747" y="1261135"/>
            <a:ext cx="630652" cy="458907"/>
          </a:xfrm>
        </p:spPr>
        <p:txBody>
          <a:bodyPr anchor="ctr">
            <a:noAutofit/>
          </a:bodyPr>
          <a:lstStyle>
            <a:lvl1pPr marL="0" algn="ctr">
              <a:buNone/>
              <a:defRPr sz="2000" b="1">
                <a:solidFill>
                  <a:srgbClr val="675C53"/>
                </a:solidFill>
              </a:defRPr>
            </a:lvl1pPr>
          </a:lstStyle>
          <a:p>
            <a:pPr lvl="0"/>
            <a:r>
              <a:rPr lang="pt-BR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28939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3">
            <a:extLst>
              <a:ext uri="{FF2B5EF4-FFF2-40B4-BE49-F238E27FC236}">
                <a16:creationId xmlns:a16="http://schemas.microsoft.com/office/drawing/2014/main" id="{EF29BDBE-B959-1542-9855-4D9E59D3EE0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285780-ED59-5948-871F-E955A30344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AFEC8A-F4A9-C94B-A9A3-A6040F8949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15D68C-28F2-6845-AD00-C0F52F62963A}" type="datetimeFigureOut">
              <a:rPr lang="pt-BR" smtClean="0"/>
              <a:t>09/07/2025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C733AF-D8B6-464E-8186-21088C409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644113-5943-7E44-8E3F-6CF28369F0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5DB5F9-6B41-F244-8618-E38A9C4C98B1}" type="slidenum">
              <a:rPr lang="pt-BR" smtClean="0"/>
              <a:t>‹nº›</a:t>
            </a:fld>
            <a:endParaRPr lang="pt-BR"/>
          </a:p>
        </p:txBody>
      </p:sp>
      <p:pic>
        <p:nvPicPr>
          <p:cNvPr id="8" name="Imagem 7" descr="Texto, Logotipo&#10;&#10;Descrição gerada automaticamente">
            <a:extLst>
              <a:ext uri="{FF2B5EF4-FFF2-40B4-BE49-F238E27FC236}">
                <a16:creationId xmlns:a16="http://schemas.microsoft.com/office/drawing/2014/main" id="{084ED0DC-61CD-41BA-81E5-7D7DEE3CDB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402" y="190048"/>
            <a:ext cx="1487783" cy="37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8533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C2D3D16F-4E6C-4921-8D13-AF3B6C56B92B}"/>
              </a:ext>
            </a:extLst>
          </p:cNvPr>
          <p:cNvSpPr/>
          <p:nvPr userDrawn="1"/>
        </p:nvSpPr>
        <p:spPr>
          <a:xfrm>
            <a:off x="-92364" y="-1"/>
            <a:ext cx="12284363" cy="6857999"/>
          </a:xfrm>
          <a:prstGeom prst="rect">
            <a:avLst/>
          </a:prstGeom>
          <a:solidFill>
            <a:srgbClr val="0062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A404430B-3B08-3848-9412-98D537E5F904}"/>
              </a:ext>
            </a:extLst>
          </p:cNvPr>
          <p:cNvSpPr/>
          <p:nvPr userDrawn="1"/>
        </p:nvSpPr>
        <p:spPr>
          <a:xfrm>
            <a:off x="0" y="-1"/>
            <a:ext cx="12192163" cy="6858000"/>
          </a:xfrm>
          <a:custGeom>
            <a:avLst/>
            <a:gdLst>
              <a:gd name="connsiteX0" fmla="*/ 6096000 w 12192163"/>
              <a:gd name="connsiteY0" fmla="*/ 0 h 6858000"/>
              <a:gd name="connsiteX1" fmla="*/ 6273800 w 12192163"/>
              <a:gd name="connsiteY1" fmla="*/ 0 h 6858000"/>
              <a:gd name="connsiteX2" fmla="*/ 12192000 w 12192163"/>
              <a:gd name="connsiteY2" fmla="*/ 0 h 6858000"/>
              <a:gd name="connsiteX3" fmla="*/ 12192000 w 12192163"/>
              <a:gd name="connsiteY3" fmla="*/ 6604054 h 6858000"/>
              <a:gd name="connsiteX4" fmla="*/ 12192163 w 12192163"/>
              <a:gd name="connsiteY4" fmla="*/ 6604054 h 6858000"/>
              <a:gd name="connsiteX5" fmla="*/ 12192000 w 12192163"/>
              <a:gd name="connsiteY5" fmla="*/ 6858000 h 6858000"/>
              <a:gd name="connsiteX6" fmla="*/ 6096000 w 12192163"/>
              <a:gd name="connsiteY6" fmla="*/ 6858000 h 6858000"/>
              <a:gd name="connsiteX7" fmla="*/ 0 w 12192163"/>
              <a:gd name="connsiteY7" fmla="*/ 6858000 h 6858000"/>
              <a:gd name="connsiteX8" fmla="*/ 0 w 12192163"/>
              <a:gd name="connsiteY8" fmla="*/ 6276660 h 6858000"/>
              <a:gd name="connsiteX9" fmla="*/ 1406430 w 12192163"/>
              <a:gd name="connsiteY9" fmla="*/ 6270372 h 6858000"/>
              <a:gd name="connsiteX10" fmla="*/ 3218752 w 12192163"/>
              <a:gd name="connsiteY10" fmla="*/ 6598064 h 6858000"/>
              <a:gd name="connsiteX11" fmla="*/ 6096000 w 12192163"/>
              <a:gd name="connsiteY11" fmla="*/ 659998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163" h="6858000">
                <a:moveTo>
                  <a:pt x="6096000" y="0"/>
                </a:moveTo>
                <a:lnTo>
                  <a:pt x="6273800" y="0"/>
                </a:lnTo>
                <a:lnTo>
                  <a:pt x="12192000" y="0"/>
                </a:lnTo>
                <a:lnTo>
                  <a:pt x="12192000" y="6604054"/>
                </a:lnTo>
                <a:lnTo>
                  <a:pt x="12192163" y="6604054"/>
                </a:lnTo>
                <a:cubicBezTo>
                  <a:pt x="12192109" y="6688703"/>
                  <a:pt x="12192054" y="6773351"/>
                  <a:pt x="12192000" y="6858000"/>
                </a:cubicBezTo>
                <a:lnTo>
                  <a:pt x="6096000" y="6858000"/>
                </a:lnTo>
                <a:lnTo>
                  <a:pt x="0" y="6858000"/>
                </a:lnTo>
                <a:lnTo>
                  <a:pt x="0" y="6276660"/>
                </a:lnTo>
                <a:lnTo>
                  <a:pt x="1406430" y="6270372"/>
                </a:lnTo>
                <a:cubicBezTo>
                  <a:pt x="2098868" y="6287185"/>
                  <a:pt x="1782437" y="6598550"/>
                  <a:pt x="3218752" y="6598064"/>
                </a:cubicBezTo>
                <a:lnTo>
                  <a:pt x="6096000" y="6599985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25" name="Retângulo 4">
            <a:extLst>
              <a:ext uri="{FF2B5EF4-FFF2-40B4-BE49-F238E27FC236}">
                <a16:creationId xmlns:a16="http://schemas.microsoft.com/office/drawing/2014/main" id="{32591978-834B-914D-A326-B0368BF03B87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6" name="Retângulo 5">
            <a:extLst>
              <a:ext uri="{FF2B5EF4-FFF2-40B4-BE49-F238E27FC236}">
                <a16:creationId xmlns:a16="http://schemas.microsoft.com/office/drawing/2014/main" id="{32D24456-B131-9646-8A0E-972710980F7D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7" name="Retângulo 6">
            <a:extLst>
              <a:ext uri="{FF2B5EF4-FFF2-40B4-BE49-F238E27FC236}">
                <a16:creationId xmlns:a16="http://schemas.microsoft.com/office/drawing/2014/main" id="{100C1D83-BAE0-C140-ABA1-B6177A885A94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8" name="Retângulo 7">
            <a:extLst>
              <a:ext uri="{FF2B5EF4-FFF2-40B4-BE49-F238E27FC236}">
                <a16:creationId xmlns:a16="http://schemas.microsoft.com/office/drawing/2014/main" id="{96949C18-30F2-444F-9C98-47F706141272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9" name="Retângulo 8">
            <a:extLst>
              <a:ext uri="{FF2B5EF4-FFF2-40B4-BE49-F238E27FC236}">
                <a16:creationId xmlns:a16="http://schemas.microsoft.com/office/drawing/2014/main" id="{E7C3338E-68F2-0D45-9072-E9CED9324FEF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0" name="Retângulo 9">
            <a:extLst>
              <a:ext uri="{FF2B5EF4-FFF2-40B4-BE49-F238E27FC236}">
                <a16:creationId xmlns:a16="http://schemas.microsoft.com/office/drawing/2014/main" id="{BA67900C-E23B-7B4A-AB96-DF85AC45E5CD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1" name="Retângulo 10">
            <a:extLst>
              <a:ext uri="{FF2B5EF4-FFF2-40B4-BE49-F238E27FC236}">
                <a16:creationId xmlns:a16="http://schemas.microsoft.com/office/drawing/2014/main" id="{F71AAFD4-B273-2F44-BE8B-19EE21DCEC65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2" name="Retângulo 11">
            <a:extLst>
              <a:ext uri="{FF2B5EF4-FFF2-40B4-BE49-F238E27FC236}">
                <a16:creationId xmlns:a16="http://schemas.microsoft.com/office/drawing/2014/main" id="{FE7EE06C-7EDF-0A4E-BD66-CA8B4D56E9C8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3" name="Retângulo 12">
            <a:extLst>
              <a:ext uri="{FF2B5EF4-FFF2-40B4-BE49-F238E27FC236}">
                <a16:creationId xmlns:a16="http://schemas.microsoft.com/office/drawing/2014/main" id="{E28F2AF3-530D-634B-A24A-047E1603B8BC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4" name="Retângulo 13">
            <a:extLst>
              <a:ext uri="{FF2B5EF4-FFF2-40B4-BE49-F238E27FC236}">
                <a16:creationId xmlns:a16="http://schemas.microsoft.com/office/drawing/2014/main" id="{DE077124-DA5D-5843-ABB4-33963FA9AAEA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5" name="Retângulo 14">
            <a:extLst>
              <a:ext uri="{FF2B5EF4-FFF2-40B4-BE49-F238E27FC236}">
                <a16:creationId xmlns:a16="http://schemas.microsoft.com/office/drawing/2014/main" id="{E0F904BB-1CE3-F94C-94C1-14D2AC3BAEB8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44" name="canto inferior">
            <a:extLst>
              <a:ext uri="{FF2B5EF4-FFF2-40B4-BE49-F238E27FC236}">
                <a16:creationId xmlns:a16="http://schemas.microsoft.com/office/drawing/2014/main" id="{D162412F-AB71-A347-8447-ADD169742E01}"/>
              </a:ext>
            </a:extLst>
          </p:cNvPr>
          <p:cNvSpPr/>
          <p:nvPr userDrawn="1"/>
        </p:nvSpPr>
        <p:spPr>
          <a:xfrm>
            <a:off x="5466000" y="5971664"/>
            <a:ext cx="630000" cy="630000"/>
          </a:xfrm>
          <a:custGeom>
            <a:avLst/>
            <a:gdLst>
              <a:gd name="connsiteX0" fmla="*/ 630000 w 630000"/>
              <a:gd name="connsiteY0" fmla="*/ 0 h 630000"/>
              <a:gd name="connsiteX1" fmla="*/ 630000 w 630000"/>
              <a:gd name="connsiteY1" fmla="*/ 630000 h 630000"/>
              <a:gd name="connsiteX2" fmla="*/ 0 w 630000"/>
              <a:gd name="connsiteY2" fmla="*/ 630000 h 630000"/>
              <a:gd name="connsiteX3" fmla="*/ 630000 w 630000"/>
              <a:gd name="connsiteY3" fmla="*/ 0 h 63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000" h="630000">
                <a:moveTo>
                  <a:pt x="630000" y="0"/>
                </a:moveTo>
                <a:lnTo>
                  <a:pt x="630000" y="630000"/>
                </a:lnTo>
                <a:lnTo>
                  <a:pt x="0" y="630000"/>
                </a:lnTo>
                <a:cubicBezTo>
                  <a:pt x="347939" y="630000"/>
                  <a:pt x="630000" y="347939"/>
                  <a:pt x="630000" y="0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4D5CEEA2-C3C5-9D4B-BFE1-37669F57B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629" y="176400"/>
            <a:ext cx="10152959" cy="868013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endParaRPr lang="pt-BR"/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288AF548-D260-4E9B-9F30-F22FFAE6BC0D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F70408EB-8401-43E0-A3BD-D33BC68F68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45" name="Freeform 26">
              <a:extLst>
                <a:ext uri="{FF2B5EF4-FFF2-40B4-BE49-F238E27FC236}">
                  <a16:creationId xmlns:a16="http://schemas.microsoft.com/office/drawing/2014/main" id="{10D16623-3CB5-4622-A056-71EE79F8C4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47" name="Oval 27">
              <a:extLst>
                <a:ext uri="{FF2B5EF4-FFF2-40B4-BE49-F238E27FC236}">
                  <a16:creationId xmlns:a16="http://schemas.microsoft.com/office/drawing/2014/main" id="{402B9E7E-938F-47BF-9462-3312AC3167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id="{B29192BB-9DA8-489E-9E6B-422DF9FF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C6D2633D-5C49-47C7-82BB-BC18197BF1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  <p:pic>
        <p:nvPicPr>
          <p:cNvPr id="37" name="Imagem 36" descr="Texto, Logotipo&#10;&#10;Descrição gerada automaticamente">
            <a:extLst>
              <a:ext uri="{FF2B5EF4-FFF2-40B4-BE49-F238E27FC236}">
                <a16:creationId xmlns:a16="http://schemas.microsoft.com/office/drawing/2014/main" id="{699EF6C3-A15C-480E-8AB2-D1A78F0BEA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402" y="190048"/>
            <a:ext cx="1487783" cy="37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1339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vre: Forma 23">
            <a:extLst>
              <a:ext uri="{FF2B5EF4-FFF2-40B4-BE49-F238E27FC236}">
                <a16:creationId xmlns:a16="http://schemas.microsoft.com/office/drawing/2014/main" id="{F341844C-7B39-4DA3-ABFF-68CA4FAC96BF}"/>
              </a:ext>
            </a:extLst>
          </p:cNvPr>
          <p:cNvSpPr/>
          <p:nvPr userDrawn="1"/>
        </p:nvSpPr>
        <p:spPr>
          <a:xfrm>
            <a:off x="0" y="6379648"/>
            <a:ext cx="12192162" cy="478353"/>
          </a:xfrm>
          <a:custGeom>
            <a:avLst/>
            <a:gdLst>
              <a:gd name="connsiteX0" fmla="*/ 0 w 12192162"/>
              <a:gd name="connsiteY0" fmla="*/ 0 h 478353"/>
              <a:gd name="connsiteX1" fmla="*/ 897812 w 12192162"/>
              <a:gd name="connsiteY1" fmla="*/ 1844 h 478353"/>
              <a:gd name="connsiteX2" fmla="*/ 1389496 w 12192162"/>
              <a:gd name="connsiteY2" fmla="*/ 3614 h 478353"/>
              <a:gd name="connsiteX3" fmla="*/ 3218751 w 12192162"/>
              <a:gd name="connsiteY3" fmla="*/ 218417 h 478353"/>
              <a:gd name="connsiteX4" fmla="*/ 12192162 w 12192162"/>
              <a:gd name="connsiteY4" fmla="*/ 224407 h 478353"/>
              <a:gd name="connsiteX5" fmla="*/ 12191999 w 12192162"/>
              <a:gd name="connsiteY5" fmla="*/ 478353 h 478353"/>
              <a:gd name="connsiteX6" fmla="*/ 0 w 12192162"/>
              <a:gd name="connsiteY6" fmla="*/ 478353 h 4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162" h="478353">
                <a:moveTo>
                  <a:pt x="0" y="0"/>
                </a:moveTo>
                <a:lnTo>
                  <a:pt x="897812" y="1844"/>
                </a:lnTo>
                <a:lnTo>
                  <a:pt x="1389496" y="3614"/>
                </a:lnTo>
                <a:cubicBezTo>
                  <a:pt x="2155312" y="11961"/>
                  <a:pt x="1782436" y="218903"/>
                  <a:pt x="3218751" y="218417"/>
                </a:cubicBezTo>
                <a:lnTo>
                  <a:pt x="12192162" y="224407"/>
                </a:lnTo>
                <a:cubicBezTo>
                  <a:pt x="12192108" y="309056"/>
                  <a:pt x="12192053" y="393704"/>
                  <a:pt x="12191999" y="478353"/>
                </a:cubicBezTo>
                <a:lnTo>
                  <a:pt x="0" y="47835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73" name="Retângulo 4">
            <a:extLst>
              <a:ext uri="{FF2B5EF4-FFF2-40B4-BE49-F238E27FC236}">
                <a16:creationId xmlns:a16="http://schemas.microsoft.com/office/drawing/2014/main" id="{4CA31EBD-D983-0D40-99CA-101EB48A6E6D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4" name="Retângulo 5">
            <a:extLst>
              <a:ext uri="{FF2B5EF4-FFF2-40B4-BE49-F238E27FC236}">
                <a16:creationId xmlns:a16="http://schemas.microsoft.com/office/drawing/2014/main" id="{29D49441-9231-A442-8561-2384BADE4378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5" name="Retângulo 6">
            <a:extLst>
              <a:ext uri="{FF2B5EF4-FFF2-40B4-BE49-F238E27FC236}">
                <a16:creationId xmlns:a16="http://schemas.microsoft.com/office/drawing/2014/main" id="{F7640527-FE94-5349-811E-A2E910A8136C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6" name="Retângulo 7">
            <a:extLst>
              <a:ext uri="{FF2B5EF4-FFF2-40B4-BE49-F238E27FC236}">
                <a16:creationId xmlns:a16="http://schemas.microsoft.com/office/drawing/2014/main" id="{3B638C98-8153-084F-BC91-FF9A132098AF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7" name="Retângulo 8">
            <a:extLst>
              <a:ext uri="{FF2B5EF4-FFF2-40B4-BE49-F238E27FC236}">
                <a16:creationId xmlns:a16="http://schemas.microsoft.com/office/drawing/2014/main" id="{6884A18B-D2C7-6240-8842-51A144CF341C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8" name="Retângulo 9">
            <a:extLst>
              <a:ext uri="{FF2B5EF4-FFF2-40B4-BE49-F238E27FC236}">
                <a16:creationId xmlns:a16="http://schemas.microsoft.com/office/drawing/2014/main" id="{24C46CAB-AC79-FB44-9FE5-10BE6CD36186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9" name="Retângulo 10">
            <a:extLst>
              <a:ext uri="{FF2B5EF4-FFF2-40B4-BE49-F238E27FC236}">
                <a16:creationId xmlns:a16="http://schemas.microsoft.com/office/drawing/2014/main" id="{A90F9425-5A51-3B4F-8146-65B58B0D7858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0" name="Retângulo 11">
            <a:extLst>
              <a:ext uri="{FF2B5EF4-FFF2-40B4-BE49-F238E27FC236}">
                <a16:creationId xmlns:a16="http://schemas.microsoft.com/office/drawing/2014/main" id="{206BCEC6-DDEC-3A4A-8632-AE5121D85535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1" name="Retângulo 12">
            <a:extLst>
              <a:ext uri="{FF2B5EF4-FFF2-40B4-BE49-F238E27FC236}">
                <a16:creationId xmlns:a16="http://schemas.microsoft.com/office/drawing/2014/main" id="{2D82E554-646B-AC40-92DB-034DC637D8B8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2" name="Retângulo 13">
            <a:extLst>
              <a:ext uri="{FF2B5EF4-FFF2-40B4-BE49-F238E27FC236}">
                <a16:creationId xmlns:a16="http://schemas.microsoft.com/office/drawing/2014/main" id="{4DC6A1B2-4201-9E4C-87B2-C5F15A8F3ED3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3" name="Retângulo 14">
            <a:extLst>
              <a:ext uri="{FF2B5EF4-FFF2-40B4-BE49-F238E27FC236}">
                <a16:creationId xmlns:a16="http://schemas.microsoft.com/office/drawing/2014/main" id="{724AB98E-4D47-B647-A7F8-0F4CB9AB3982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pic>
        <p:nvPicPr>
          <p:cNvPr id="84" name="Imagem 2">
            <a:extLst>
              <a:ext uri="{FF2B5EF4-FFF2-40B4-BE49-F238E27FC236}">
                <a16:creationId xmlns:a16="http://schemas.microsoft.com/office/drawing/2014/main" id="{AADDE99A-0728-0242-B16A-CB35B371E8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9116" y="149337"/>
            <a:ext cx="1489367" cy="431576"/>
          </a:xfrm>
          <a:prstGeom prst="rect">
            <a:avLst/>
          </a:prstGeom>
        </p:spPr>
      </p:pic>
      <p:sp>
        <p:nvSpPr>
          <p:cNvPr id="92" name="Espaço Reservado para Conteúdo 16">
            <a:extLst>
              <a:ext uri="{FF2B5EF4-FFF2-40B4-BE49-F238E27FC236}">
                <a16:creationId xmlns:a16="http://schemas.microsoft.com/office/drawing/2014/main" id="{4186F925-99FD-C54A-867C-50D403360B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5629" y="1426732"/>
            <a:ext cx="11689063" cy="4351338"/>
          </a:xfrm>
        </p:spPr>
        <p:txBody>
          <a:bodyPr/>
          <a:lstStyle/>
          <a:p>
            <a:pPr marL="0" indent="0">
              <a:buNone/>
            </a:pPr>
            <a:endParaRPr lang="pt-BR"/>
          </a:p>
        </p:txBody>
      </p:sp>
      <p:sp>
        <p:nvSpPr>
          <p:cNvPr id="93" name="Title 1">
            <a:extLst>
              <a:ext uri="{FF2B5EF4-FFF2-40B4-BE49-F238E27FC236}">
                <a16:creationId xmlns:a16="http://schemas.microsoft.com/office/drawing/2014/main" id="{07966D6B-69A4-EB4B-9D2F-7107E88CD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629" y="176400"/>
            <a:ext cx="10152959" cy="868013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675C53"/>
                </a:solidFill>
              </a:defRPr>
            </a:lvl1pPr>
          </a:lstStyle>
          <a:p>
            <a:endParaRPr lang="pt-BR"/>
          </a:p>
        </p:txBody>
      </p:sp>
      <p:pic>
        <p:nvPicPr>
          <p:cNvPr id="23" name="Picture 10">
            <a:extLst>
              <a:ext uri="{FF2B5EF4-FFF2-40B4-BE49-F238E27FC236}">
                <a16:creationId xmlns:a16="http://schemas.microsoft.com/office/drawing/2014/main" id="{BF5F56EB-2633-472F-966A-35B9E16824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11695841" y="6428255"/>
            <a:ext cx="360363" cy="360363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5" name="Agrupar 23">
            <a:extLst>
              <a:ext uri="{FF2B5EF4-FFF2-40B4-BE49-F238E27FC236}">
                <a16:creationId xmlns:a16="http://schemas.microsoft.com/office/drawing/2014/main" id="{27D7DB08-903D-4625-8A62-BFC33F5BB893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503FB52-8C64-4A78-884F-67F2E988B0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E291A59E-567F-4D16-8F61-08AE033E17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D3F4583-00D6-41A5-97DA-A91C60131B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BC81B646-223D-4992-837A-FA01CEC9E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30" name="Freeform 13">
              <a:extLst>
                <a:ext uri="{FF2B5EF4-FFF2-40B4-BE49-F238E27FC236}">
                  <a16:creationId xmlns:a16="http://schemas.microsoft.com/office/drawing/2014/main" id="{E7521A9F-1DDF-4762-8D53-62A7A92DBB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7706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8ADE89F5-8DFF-4BDC-8EFC-0F4AF1A365A7}"/>
              </a:ext>
            </a:extLst>
          </p:cNvPr>
          <p:cNvSpPr/>
          <p:nvPr userDrawn="1"/>
        </p:nvSpPr>
        <p:spPr>
          <a:xfrm>
            <a:off x="6084285" y="0"/>
            <a:ext cx="6107715" cy="6681600"/>
          </a:xfrm>
          <a:prstGeom prst="rect">
            <a:avLst/>
          </a:pr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pt-BR"/>
          </a:p>
        </p:txBody>
      </p:sp>
      <p:sp>
        <p:nvSpPr>
          <p:cNvPr id="24" name="Forma Livre: Forma 23">
            <a:extLst>
              <a:ext uri="{FF2B5EF4-FFF2-40B4-BE49-F238E27FC236}">
                <a16:creationId xmlns:a16="http://schemas.microsoft.com/office/drawing/2014/main" id="{623D3D2F-AEC4-4A4D-81D4-F24F61FC7535}"/>
              </a:ext>
            </a:extLst>
          </p:cNvPr>
          <p:cNvSpPr/>
          <p:nvPr userDrawn="1"/>
        </p:nvSpPr>
        <p:spPr>
          <a:xfrm>
            <a:off x="0" y="6379648"/>
            <a:ext cx="12192162" cy="478353"/>
          </a:xfrm>
          <a:custGeom>
            <a:avLst/>
            <a:gdLst>
              <a:gd name="connsiteX0" fmla="*/ 0 w 12192162"/>
              <a:gd name="connsiteY0" fmla="*/ 0 h 478353"/>
              <a:gd name="connsiteX1" fmla="*/ 897812 w 12192162"/>
              <a:gd name="connsiteY1" fmla="*/ 1844 h 478353"/>
              <a:gd name="connsiteX2" fmla="*/ 1389496 w 12192162"/>
              <a:gd name="connsiteY2" fmla="*/ 3614 h 478353"/>
              <a:gd name="connsiteX3" fmla="*/ 3218751 w 12192162"/>
              <a:gd name="connsiteY3" fmla="*/ 218417 h 478353"/>
              <a:gd name="connsiteX4" fmla="*/ 12192162 w 12192162"/>
              <a:gd name="connsiteY4" fmla="*/ 224407 h 478353"/>
              <a:gd name="connsiteX5" fmla="*/ 12191999 w 12192162"/>
              <a:gd name="connsiteY5" fmla="*/ 478353 h 478353"/>
              <a:gd name="connsiteX6" fmla="*/ 0 w 12192162"/>
              <a:gd name="connsiteY6" fmla="*/ 478353 h 4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162" h="478353">
                <a:moveTo>
                  <a:pt x="0" y="0"/>
                </a:moveTo>
                <a:lnTo>
                  <a:pt x="897812" y="1844"/>
                </a:lnTo>
                <a:lnTo>
                  <a:pt x="1389496" y="3614"/>
                </a:lnTo>
                <a:cubicBezTo>
                  <a:pt x="2155312" y="11961"/>
                  <a:pt x="1782436" y="218903"/>
                  <a:pt x="3218751" y="218417"/>
                </a:cubicBezTo>
                <a:lnTo>
                  <a:pt x="12192162" y="224407"/>
                </a:lnTo>
                <a:cubicBezTo>
                  <a:pt x="12192108" y="309056"/>
                  <a:pt x="12192053" y="393704"/>
                  <a:pt x="12191999" y="478353"/>
                </a:cubicBezTo>
                <a:lnTo>
                  <a:pt x="0" y="47835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25" name="Retângulo 4">
            <a:extLst>
              <a:ext uri="{FF2B5EF4-FFF2-40B4-BE49-F238E27FC236}">
                <a16:creationId xmlns:a16="http://schemas.microsoft.com/office/drawing/2014/main" id="{32591978-834B-914D-A326-B0368BF03B87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6" name="Retângulo 5">
            <a:extLst>
              <a:ext uri="{FF2B5EF4-FFF2-40B4-BE49-F238E27FC236}">
                <a16:creationId xmlns:a16="http://schemas.microsoft.com/office/drawing/2014/main" id="{32D24456-B131-9646-8A0E-972710980F7D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7" name="Retângulo 6">
            <a:extLst>
              <a:ext uri="{FF2B5EF4-FFF2-40B4-BE49-F238E27FC236}">
                <a16:creationId xmlns:a16="http://schemas.microsoft.com/office/drawing/2014/main" id="{100C1D83-BAE0-C140-ABA1-B6177A885A94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8" name="Retângulo 7">
            <a:extLst>
              <a:ext uri="{FF2B5EF4-FFF2-40B4-BE49-F238E27FC236}">
                <a16:creationId xmlns:a16="http://schemas.microsoft.com/office/drawing/2014/main" id="{96949C18-30F2-444F-9C98-47F706141272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9" name="Retângulo 8">
            <a:extLst>
              <a:ext uri="{FF2B5EF4-FFF2-40B4-BE49-F238E27FC236}">
                <a16:creationId xmlns:a16="http://schemas.microsoft.com/office/drawing/2014/main" id="{E7C3338E-68F2-0D45-9072-E9CED9324FEF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0" name="Retângulo 9">
            <a:extLst>
              <a:ext uri="{FF2B5EF4-FFF2-40B4-BE49-F238E27FC236}">
                <a16:creationId xmlns:a16="http://schemas.microsoft.com/office/drawing/2014/main" id="{BA67900C-E23B-7B4A-AB96-DF85AC45E5CD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1" name="Retângulo 10">
            <a:extLst>
              <a:ext uri="{FF2B5EF4-FFF2-40B4-BE49-F238E27FC236}">
                <a16:creationId xmlns:a16="http://schemas.microsoft.com/office/drawing/2014/main" id="{F71AAFD4-B273-2F44-BE8B-19EE21DCEC65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2" name="Retângulo 11">
            <a:extLst>
              <a:ext uri="{FF2B5EF4-FFF2-40B4-BE49-F238E27FC236}">
                <a16:creationId xmlns:a16="http://schemas.microsoft.com/office/drawing/2014/main" id="{FE7EE06C-7EDF-0A4E-BD66-CA8B4D56E9C8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3" name="Retângulo 12">
            <a:extLst>
              <a:ext uri="{FF2B5EF4-FFF2-40B4-BE49-F238E27FC236}">
                <a16:creationId xmlns:a16="http://schemas.microsoft.com/office/drawing/2014/main" id="{E28F2AF3-530D-634B-A24A-047E1603B8BC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4" name="Retângulo 13">
            <a:extLst>
              <a:ext uri="{FF2B5EF4-FFF2-40B4-BE49-F238E27FC236}">
                <a16:creationId xmlns:a16="http://schemas.microsoft.com/office/drawing/2014/main" id="{DE077124-DA5D-5843-ABB4-33963FA9AAEA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5" name="Retângulo 14">
            <a:extLst>
              <a:ext uri="{FF2B5EF4-FFF2-40B4-BE49-F238E27FC236}">
                <a16:creationId xmlns:a16="http://schemas.microsoft.com/office/drawing/2014/main" id="{E0F904BB-1CE3-F94C-94C1-14D2AC3BAEB8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43" name="Espaço Reservado para Conteúdo 16">
            <a:extLst>
              <a:ext uri="{FF2B5EF4-FFF2-40B4-BE49-F238E27FC236}">
                <a16:creationId xmlns:a16="http://schemas.microsoft.com/office/drawing/2014/main" id="{94A97D70-51BD-C04B-945F-D7750B52A3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5629" y="1426732"/>
            <a:ext cx="11689063" cy="4351338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/>
          </a:p>
        </p:txBody>
      </p:sp>
      <p:sp>
        <p:nvSpPr>
          <p:cNvPr id="44" name="canto inferior">
            <a:extLst>
              <a:ext uri="{FF2B5EF4-FFF2-40B4-BE49-F238E27FC236}">
                <a16:creationId xmlns:a16="http://schemas.microsoft.com/office/drawing/2014/main" id="{D162412F-AB71-A347-8447-ADD169742E01}"/>
              </a:ext>
            </a:extLst>
          </p:cNvPr>
          <p:cNvSpPr/>
          <p:nvPr userDrawn="1"/>
        </p:nvSpPr>
        <p:spPr>
          <a:xfrm>
            <a:off x="5466000" y="5971664"/>
            <a:ext cx="630000" cy="630000"/>
          </a:xfrm>
          <a:custGeom>
            <a:avLst/>
            <a:gdLst>
              <a:gd name="connsiteX0" fmla="*/ 630000 w 630000"/>
              <a:gd name="connsiteY0" fmla="*/ 0 h 630000"/>
              <a:gd name="connsiteX1" fmla="*/ 630000 w 630000"/>
              <a:gd name="connsiteY1" fmla="*/ 630000 h 630000"/>
              <a:gd name="connsiteX2" fmla="*/ 0 w 630000"/>
              <a:gd name="connsiteY2" fmla="*/ 630000 h 630000"/>
              <a:gd name="connsiteX3" fmla="*/ 630000 w 630000"/>
              <a:gd name="connsiteY3" fmla="*/ 0 h 63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000" h="630000">
                <a:moveTo>
                  <a:pt x="630000" y="0"/>
                </a:moveTo>
                <a:lnTo>
                  <a:pt x="630000" y="630000"/>
                </a:lnTo>
                <a:lnTo>
                  <a:pt x="0" y="630000"/>
                </a:lnTo>
                <a:cubicBezTo>
                  <a:pt x="347939" y="630000"/>
                  <a:pt x="630000" y="347939"/>
                  <a:pt x="630000" y="0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4D5CEEA2-C3C5-9D4B-BFE1-37669F57B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629" y="176400"/>
            <a:ext cx="10152959" cy="868013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675C53"/>
                </a:solidFill>
              </a:defRPr>
            </a:lvl1pPr>
          </a:lstStyle>
          <a:p>
            <a:endParaRPr lang="pt-BR"/>
          </a:p>
        </p:txBody>
      </p:sp>
      <p:pic>
        <p:nvPicPr>
          <p:cNvPr id="45" name="Picture 10">
            <a:extLst>
              <a:ext uri="{FF2B5EF4-FFF2-40B4-BE49-F238E27FC236}">
                <a16:creationId xmlns:a16="http://schemas.microsoft.com/office/drawing/2014/main" id="{BB2EF8ED-57C2-4F87-97D5-91811319027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rcRect/>
          <a:stretch/>
        </p:blipFill>
        <p:spPr bwMode="auto">
          <a:xfrm>
            <a:off x="11695841" y="6428255"/>
            <a:ext cx="360363" cy="360363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7" name="Agrupar 23">
            <a:extLst>
              <a:ext uri="{FF2B5EF4-FFF2-40B4-BE49-F238E27FC236}">
                <a16:creationId xmlns:a16="http://schemas.microsoft.com/office/drawing/2014/main" id="{E23AF88E-7ADA-431E-A8AC-BA8FC72FD999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48" name="Freeform 25">
              <a:extLst>
                <a:ext uri="{FF2B5EF4-FFF2-40B4-BE49-F238E27FC236}">
                  <a16:creationId xmlns:a16="http://schemas.microsoft.com/office/drawing/2014/main" id="{2B41E93A-4F58-4C84-82D7-62ABB46141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49" name="Freeform 26">
              <a:extLst>
                <a:ext uri="{FF2B5EF4-FFF2-40B4-BE49-F238E27FC236}">
                  <a16:creationId xmlns:a16="http://schemas.microsoft.com/office/drawing/2014/main" id="{B4997A9E-EB0B-4137-B613-BF3C11B4A1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50" name="Oval 27">
              <a:extLst>
                <a:ext uri="{FF2B5EF4-FFF2-40B4-BE49-F238E27FC236}">
                  <a16:creationId xmlns:a16="http://schemas.microsoft.com/office/drawing/2014/main" id="{11C088B3-0E8B-476E-9C5C-B6D3478AC6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2DBD9B91-0CC1-4F53-B241-960CFD0CF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204B2C6A-04E9-4710-9C9C-CF2E617D20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  <p:pic>
        <p:nvPicPr>
          <p:cNvPr id="37" name="Imagem 36" descr="Texto, Logotipo&#10;&#10;Descrição gerada automaticamente">
            <a:extLst>
              <a:ext uri="{FF2B5EF4-FFF2-40B4-BE49-F238E27FC236}">
                <a16:creationId xmlns:a16="http://schemas.microsoft.com/office/drawing/2014/main" id="{EED7484A-E921-4B10-97F1-65A2ED0FBE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402" y="190048"/>
            <a:ext cx="1487783" cy="37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7382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7D3D29BF-B5F6-7E41-8160-072C23EB2F39}"/>
              </a:ext>
            </a:extLst>
          </p:cNvPr>
          <p:cNvSpPr/>
          <p:nvPr userDrawn="1"/>
        </p:nvSpPr>
        <p:spPr>
          <a:xfrm>
            <a:off x="9195883" y="0"/>
            <a:ext cx="3030489" cy="6858000"/>
          </a:xfrm>
          <a:prstGeom prst="rect">
            <a:avLst/>
          </a:pr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Forma Livre: Forma 42">
            <a:extLst>
              <a:ext uri="{FF2B5EF4-FFF2-40B4-BE49-F238E27FC236}">
                <a16:creationId xmlns:a16="http://schemas.microsoft.com/office/drawing/2014/main" id="{99CECEA2-7BA0-430C-8AA7-571BADCA6392}"/>
              </a:ext>
            </a:extLst>
          </p:cNvPr>
          <p:cNvSpPr/>
          <p:nvPr userDrawn="1"/>
        </p:nvSpPr>
        <p:spPr>
          <a:xfrm>
            <a:off x="0" y="6379648"/>
            <a:ext cx="12192162" cy="478353"/>
          </a:xfrm>
          <a:custGeom>
            <a:avLst/>
            <a:gdLst>
              <a:gd name="connsiteX0" fmla="*/ 0 w 12192162"/>
              <a:gd name="connsiteY0" fmla="*/ 0 h 478353"/>
              <a:gd name="connsiteX1" fmla="*/ 897812 w 12192162"/>
              <a:gd name="connsiteY1" fmla="*/ 1844 h 478353"/>
              <a:gd name="connsiteX2" fmla="*/ 1389496 w 12192162"/>
              <a:gd name="connsiteY2" fmla="*/ 3614 h 478353"/>
              <a:gd name="connsiteX3" fmla="*/ 3218751 w 12192162"/>
              <a:gd name="connsiteY3" fmla="*/ 218417 h 478353"/>
              <a:gd name="connsiteX4" fmla="*/ 12192162 w 12192162"/>
              <a:gd name="connsiteY4" fmla="*/ 224407 h 478353"/>
              <a:gd name="connsiteX5" fmla="*/ 12191999 w 12192162"/>
              <a:gd name="connsiteY5" fmla="*/ 478353 h 478353"/>
              <a:gd name="connsiteX6" fmla="*/ 0 w 12192162"/>
              <a:gd name="connsiteY6" fmla="*/ 478353 h 4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162" h="478353">
                <a:moveTo>
                  <a:pt x="0" y="0"/>
                </a:moveTo>
                <a:lnTo>
                  <a:pt x="897812" y="1844"/>
                </a:lnTo>
                <a:lnTo>
                  <a:pt x="1389496" y="3614"/>
                </a:lnTo>
                <a:cubicBezTo>
                  <a:pt x="2155312" y="11961"/>
                  <a:pt x="1782436" y="218903"/>
                  <a:pt x="3218751" y="218417"/>
                </a:cubicBezTo>
                <a:lnTo>
                  <a:pt x="12192162" y="224407"/>
                </a:lnTo>
                <a:cubicBezTo>
                  <a:pt x="12192108" y="309056"/>
                  <a:pt x="12192053" y="393704"/>
                  <a:pt x="12191999" y="478353"/>
                </a:cubicBezTo>
                <a:lnTo>
                  <a:pt x="0" y="47835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25" name="Retângulo 4">
            <a:extLst>
              <a:ext uri="{FF2B5EF4-FFF2-40B4-BE49-F238E27FC236}">
                <a16:creationId xmlns:a16="http://schemas.microsoft.com/office/drawing/2014/main" id="{32591978-834B-914D-A326-B0368BF03B87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6" name="Retângulo 5">
            <a:extLst>
              <a:ext uri="{FF2B5EF4-FFF2-40B4-BE49-F238E27FC236}">
                <a16:creationId xmlns:a16="http://schemas.microsoft.com/office/drawing/2014/main" id="{32D24456-B131-9646-8A0E-972710980F7D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7" name="Retângulo 6">
            <a:extLst>
              <a:ext uri="{FF2B5EF4-FFF2-40B4-BE49-F238E27FC236}">
                <a16:creationId xmlns:a16="http://schemas.microsoft.com/office/drawing/2014/main" id="{100C1D83-BAE0-C140-ABA1-B6177A885A94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8" name="Retângulo 7">
            <a:extLst>
              <a:ext uri="{FF2B5EF4-FFF2-40B4-BE49-F238E27FC236}">
                <a16:creationId xmlns:a16="http://schemas.microsoft.com/office/drawing/2014/main" id="{96949C18-30F2-444F-9C98-47F706141272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9" name="Retângulo 8">
            <a:extLst>
              <a:ext uri="{FF2B5EF4-FFF2-40B4-BE49-F238E27FC236}">
                <a16:creationId xmlns:a16="http://schemas.microsoft.com/office/drawing/2014/main" id="{E7C3338E-68F2-0D45-9072-E9CED9324FEF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0" name="Retângulo 9">
            <a:extLst>
              <a:ext uri="{FF2B5EF4-FFF2-40B4-BE49-F238E27FC236}">
                <a16:creationId xmlns:a16="http://schemas.microsoft.com/office/drawing/2014/main" id="{BA67900C-E23B-7B4A-AB96-DF85AC45E5CD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1" name="Retângulo 10">
            <a:extLst>
              <a:ext uri="{FF2B5EF4-FFF2-40B4-BE49-F238E27FC236}">
                <a16:creationId xmlns:a16="http://schemas.microsoft.com/office/drawing/2014/main" id="{F71AAFD4-B273-2F44-BE8B-19EE21DCEC65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2" name="Retângulo 11">
            <a:extLst>
              <a:ext uri="{FF2B5EF4-FFF2-40B4-BE49-F238E27FC236}">
                <a16:creationId xmlns:a16="http://schemas.microsoft.com/office/drawing/2014/main" id="{FE7EE06C-7EDF-0A4E-BD66-CA8B4D56E9C8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3" name="Retângulo 12">
            <a:extLst>
              <a:ext uri="{FF2B5EF4-FFF2-40B4-BE49-F238E27FC236}">
                <a16:creationId xmlns:a16="http://schemas.microsoft.com/office/drawing/2014/main" id="{E28F2AF3-530D-634B-A24A-047E1603B8BC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4" name="Retângulo 13">
            <a:extLst>
              <a:ext uri="{FF2B5EF4-FFF2-40B4-BE49-F238E27FC236}">
                <a16:creationId xmlns:a16="http://schemas.microsoft.com/office/drawing/2014/main" id="{DE077124-DA5D-5843-ABB4-33963FA9AAEA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5" name="Retângulo 14">
            <a:extLst>
              <a:ext uri="{FF2B5EF4-FFF2-40B4-BE49-F238E27FC236}">
                <a16:creationId xmlns:a16="http://schemas.microsoft.com/office/drawing/2014/main" id="{E0F904BB-1CE3-F94C-94C1-14D2AC3BAEB8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4" name="canto inferior">
            <a:extLst>
              <a:ext uri="{FF2B5EF4-FFF2-40B4-BE49-F238E27FC236}">
                <a16:creationId xmlns:a16="http://schemas.microsoft.com/office/drawing/2014/main" id="{9178B299-5903-C848-A7CE-970E653726BB}"/>
              </a:ext>
            </a:extLst>
          </p:cNvPr>
          <p:cNvSpPr/>
          <p:nvPr userDrawn="1"/>
        </p:nvSpPr>
        <p:spPr>
          <a:xfrm>
            <a:off x="8565883" y="5980149"/>
            <a:ext cx="630000" cy="630000"/>
          </a:xfrm>
          <a:custGeom>
            <a:avLst/>
            <a:gdLst>
              <a:gd name="connsiteX0" fmla="*/ 630000 w 630000"/>
              <a:gd name="connsiteY0" fmla="*/ 0 h 630000"/>
              <a:gd name="connsiteX1" fmla="*/ 630000 w 630000"/>
              <a:gd name="connsiteY1" fmla="*/ 630000 h 630000"/>
              <a:gd name="connsiteX2" fmla="*/ 0 w 630000"/>
              <a:gd name="connsiteY2" fmla="*/ 630000 h 630000"/>
              <a:gd name="connsiteX3" fmla="*/ 630000 w 630000"/>
              <a:gd name="connsiteY3" fmla="*/ 0 h 63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000" h="630000">
                <a:moveTo>
                  <a:pt x="630000" y="0"/>
                </a:moveTo>
                <a:lnTo>
                  <a:pt x="630000" y="630000"/>
                </a:lnTo>
                <a:lnTo>
                  <a:pt x="0" y="630000"/>
                </a:lnTo>
                <a:cubicBezTo>
                  <a:pt x="347939" y="630000"/>
                  <a:pt x="630000" y="347939"/>
                  <a:pt x="630000" y="0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48" name="Espaço Reservado para Conteúdo 16">
            <a:extLst>
              <a:ext uri="{FF2B5EF4-FFF2-40B4-BE49-F238E27FC236}">
                <a16:creationId xmlns:a16="http://schemas.microsoft.com/office/drawing/2014/main" id="{43231CAE-D374-D54F-B58C-D1E5BD5A4A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5629" y="1426732"/>
            <a:ext cx="11689063" cy="4351338"/>
          </a:xfrm>
        </p:spPr>
        <p:txBody>
          <a:bodyPr/>
          <a:lstStyle/>
          <a:p>
            <a:pPr marL="0" indent="0">
              <a:buNone/>
            </a:pPr>
            <a:endParaRPr lang="pt-BR"/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B16615F7-072F-3945-9F14-F39BE7EF9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629" y="176400"/>
            <a:ext cx="10152959" cy="868013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675C53"/>
                </a:solidFill>
              </a:defRPr>
            </a:lvl1pPr>
          </a:lstStyle>
          <a:p>
            <a:endParaRPr lang="pt-BR"/>
          </a:p>
        </p:txBody>
      </p:sp>
      <p:pic>
        <p:nvPicPr>
          <p:cNvPr id="44" name="Picture 10">
            <a:extLst>
              <a:ext uri="{FF2B5EF4-FFF2-40B4-BE49-F238E27FC236}">
                <a16:creationId xmlns:a16="http://schemas.microsoft.com/office/drawing/2014/main" id="{DCF24883-291D-43CD-AF97-E8C813356F7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rcRect/>
          <a:stretch/>
        </p:blipFill>
        <p:spPr bwMode="auto">
          <a:xfrm>
            <a:off x="11695841" y="6428255"/>
            <a:ext cx="360363" cy="360363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5" name="Agrupar 23">
            <a:extLst>
              <a:ext uri="{FF2B5EF4-FFF2-40B4-BE49-F238E27FC236}">
                <a16:creationId xmlns:a16="http://schemas.microsoft.com/office/drawing/2014/main" id="{68735B71-22B3-411E-A11F-4E4827632087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47" name="Freeform 25">
              <a:extLst>
                <a:ext uri="{FF2B5EF4-FFF2-40B4-BE49-F238E27FC236}">
                  <a16:creationId xmlns:a16="http://schemas.microsoft.com/office/drawing/2014/main" id="{8E032FEF-397C-4304-8873-5B9D6627E7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50" name="Freeform 26">
              <a:extLst>
                <a:ext uri="{FF2B5EF4-FFF2-40B4-BE49-F238E27FC236}">
                  <a16:creationId xmlns:a16="http://schemas.microsoft.com/office/drawing/2014/main" id="{038C0B56-D7DC-40A4-868D-B3E07B4818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51" name="Oval 27">
              <a:extLst>
                <a:ext uri="{FF2B5EF4-FFF2-40B4-BE49-F238E27FC236}">
                  <a16:creationId xmlns:a16="http://schemas.microsoft.com/office/drawing/2014/main" id="{25361579-AE50-4316-8338-6C505B7C69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52" name="Freeform 14">
              <a:extLst>
                <a:ext uri="{FF2B5EF4-FFF2-40B4-BE49-F238E27FC236}">
                  <a16:creationId xmlns:a16="http://schemas.microsoft.com/office/drawing/2014/main" id="{D8DFE97D-2F34-401E-8DDF-B68E82013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15B0705D-6644-4651-A989-38756D646C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  <p:pic>
        <p:nvPicPr>
          <p:cNvPr id="37" name="Imagem 36" descr="Texto, Logotipo&#10;&#10;Descrição gerada automaticamente">
            <a:extLst>
              <a:ext uri="{FF2B5EF4-FFF2-40B4-BE49-F238E27FC236}">
                <a16:creationId xmlns:a16="http://schemas.microsoft.com/office/drawing/2014/main" id="{0889D448-4A64-4CAE-9341-D73F8BC091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402" y="190048"/>
            <a:ext cx="1487783" cy="37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5837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Forma Livre: Forma 43">
            <a:extLst>
              <a:ext uri="{FF2B5EF4-FFF2-40B4-BE49-F238E27FC236}">
                <a16:creationId xmlns:a16="http://schemas.microsoft.com/office/drawing/2014/main" id="{D04A9526-F97A-4D95-8912-DB910ACCCEAC}"/>
              </a:ext>
            </a:extLst>
          </p:cNvPr>
          <p:cNvSpPr/>
          <p:nvPr userDrawn="1"/>
        </p:nvSpPr>
        <p:spPr>
          <a:xfrm>
            <a:off x="0" y="6379648"/>
            <a:ext cx="12192162" cy="478353"/>
          </a:xfrm>
          <a:custGeom>
            <a:avLst/>
            <a:gdLst>
              <a:gd name="connsiteX0" fmla="*/ 0 w 12192162"/>
              <a:gd name="connsiteY0" fmla="*/ 0 h 478353"/>
              <a:gd name="connsiteX1" fmla="*/ 897812 w 12192162"/>
              <a:gd name="connsiteY1" fmla="*/ 1844 h 478353"/>
              <a:gd name="connsiteX2" fmla="*/ 1389496 w 12192162"/>
              <a:gd name="connsiteY2" fmla="*/ 3614 h 478353"/>
              <a:gd name="connsiteX3" fmla="*/ 3218751 w 12192162"/>
              <a:gd name="connsiteY3" fmla="*/ 218417 h 478353"/>
              <a:gd name="connsiteX4" fmla="*/ 12192162 w 12192162"/>
              <a:gd name="connsiteY4" fmla="*/ 224407 h 478353"/>
              <a:gd name="connsiteX5" fmla="*/ 12191999 w 12192162"/>
              <a:gd name="connsiteY5" fmla="*/ 478353 h 478353"/>
              <a:gd name="connsiteX6" fmla="*/ 0 w 12192162"/>
              <a:gd name="connsiteY6" fmla="*/ 478353 h 4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162" h="478353">
                <a:moveTo>
                  <a:pt x="0" y="0"/>
                </a:moveTo>
                <a:lnTo>
                  <a:pt x="897812" y="1844"/>
                </a:lnTo>
                <a:lnTo>
                  <a:pt x="1389496" y="3614"/>
                </a:lnTo>
                <a:cubicBezTo>
                  <a:pt x="2155312" y="11961"/>
                  <a:pt x="1782436" y="218903"/>
                  <a:pt x="3218751" y="218417"/>
                </a:cubicBezTo>
                <a:lnTo>
                  <a:pt x="12192162" y="224407"/>
                </a:lnTo>
                <a:cubicBezTo>
                  <a:pt x="12192108" y="309056"/>
                  <a:pt x="12192053" y="393704"/>
                  <a:pt x="12191999" y="478353"/>
                </a:cubicBezTo>
                <a:lnTo>
                  <a:pt x="0" y="47835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25" name="Retângulo 4">
            <a:extLst>
              <a:ext uri="{FF2B5EF4-FFF2-40B4-BE49-F238E27FC236}">
                <a16:creationId xmlns:a16="http://schemas.microsoft.com/office/drawing/2014/main" id="{32591978-834B-914D-A326-B0368BF03B87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6" name="Retângulo 5">
            <a:extLst>
              <a:ext uri="{FF2B5EF4-FFF2-40B4-BE49-F238E27FC236}">
                <a16:creationId xmlns:a16="http://schemas.microsoft.com/office/drawing/2014/main" id="{32D24456-B131-9646-8A0E-972710980F7D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7" name="Retângulo 6">
            <a:extLst>
              <a:ext uri="{FF2B5EF4-FFF2-40B4-BE49-F238E27FC236}">
                <a16:creationId xmlns:a16="http://schemas.microsoft.com/office/drawing/2014/main" id="{100C1D83-BAE0-C140-ABA1-B6177A885A94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8" name="Retângulo 7">
            <a:extLst>
              <a:ext uri="{FF2B5EF4-FFF2-40B4-BE49-F238E27FC236}">
                <a16:creationId xmlns:a16="http://schemas.microsoft.com/office/drawing/2014/main" id="{96949C18-30F2-444F-9C98-47F706141272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9" name="Retângulo 8">
            <a:extLst>
              <a:ext uri="{FF2B5EF4-FFF2-40B4-BE49-F238E27FC236}">
                <a16:creationId xmlns:a16="http://schemas.microsoft.com/office/drawing/2014/main" id="{E7C3338E-68F2-0D45-9072-E9CED9324FEF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0" name="Retângulo 9">
            <a:extLst>
              <a:ext uri="{FF2B5EF4-FFF2-40B4-BE49-F238E27FC236}">
                <a16:creationId xmlns:a16="http://schemas.microsoft.com/office/drawing/2014/main" id="{BA67900C-E23B-7B4A-AB96-DF85AC45E5CD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1" name="Retângulo 10">
            <a:extLst>
              <a:ext uri="{FF2B5EF4-FFF2-40B4-BE49-F238E27FC236}">
                <a16:creationId xmlns:a16="http://schemas.microsoft.com/office/drawing/2014/main" id="{F71AAFD4-B273-2F44-BE8B-19EE21DCEC65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2" name="Retângulo 11">
            <a:extLst>
              <a:ext uri="{FF2B5EF4-FFF2-40B4-BE49-F238E27FC236}">
                <a16:creationId xmlns:a16="http://schemas.microsoft.com/office/drawing/2014/main" id="{FE7EE06C-7EDF-0A4E-BD66-CA8B4D56E9C8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3" name="Retângulo 12">
            <a:extLst>
              <a:ext uri="{FF2B5EF4-FFF2-40B4-BE49-F238E27FC236}">
                <a16:creationId xmlns:a16="http://schemas.microsoft.com/office/drawing/2014/main" id="{E28F2AF3-530D-634B-A24A-047E1603B8BC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4" name="Retângulo 13">
            <a:extLst>
              <a:ext uri="{FF2B5EF4-FFF2-40B4-BE49-F238E27FC236}">
                <a16:creationId xmlns:a16="http://schemas.microsoft.com/office/drawing/2014/main" id="{DE077124-DA5D-5843-ABB4-33963FA9AAEA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5" name="Retângulo 14">
            <a:extLst>
              <a:ext uri="{FF2B5EF4-FFF2-40B4-BE49-F238E27FC236}">
                <a16:creationId xmlns:a16="http://schemas.microsoft.com/office/drawing/2014/main" id="{E0F904BB-1CE3-F94C-94C1-14D2AC3BAEB8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pic>
        <p:nvPicPr>
          <p:cNvPr id="36" name="Imagem 2">
            <a:extLst>
              <a:ext uri="{FF2B5EF4-FFF2-40B4-BE49-F238E27FC236}">
                <a16:creationId xmlns:a16="http://schemas.microsoft.com/office/drawing/2014/main" id="{DE189C9D-457B-A949-BE25-74A6E4B865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9116" y="149337"/>
            <a:ext cx="1489367" cy="431576"/>
          </a:xfrm>
          <a:prstGeom prst="rect">
            <a:avLst/>
          </a:prstGeom>
        </p:spPr>
      </p:pic>
      <p:sp>
        <p:nvSpPr>
          <p:cNvPr id="48" name="Espaço Reservado para Conteúdo 16">
            <a:extLst>
              <a:ext uri="{FF2B5EF4-FFF2-40B4-BE49-F238E27FC236}">
                <a16:creationId xmlns:a16="http://schemas.microsoft.com/office/drawing/2014/main" id="{43231CAE-D374-D54F-B58C-D1E5BD5A4A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5629" y="1426732"/>
            <a:ext cx="11689063" cy="4351338"/>
          </a:xfrm>
        </p:spPr>
        <p:txBody>
          <a:bodyPr/>
          <a:lstStyle/>
          <a:p>
            <a:pPr marL="0" indent="0">
              <a:buNone/>
            </a:pPr>
            <a:endParaRPr lang="pt-BR"/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B16615F7-072F-3945-9F14-F39BE7EF9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629" y="176400"/>
            <a:ext cx="10152959" cy="868013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675C53"/>
                </a:solidFill>
              </a:defRPr>
            </a:lvl1pPr>
          </a:lstStyle>
          <a:p>
            <a:endParaRPr lang="pt-BR"/>
          </a:p>
        </p:txBody>
      </p:sp>
      <p:sp>
        <p:nvSpPr>
          <p:cNvPr id="50" name="canto inferior">
            <a:extLst>
              <a:ext uri="{FF2B5EF4-FFF2-40B4-BE49-F238E27FC236}">
                <a16:creationId xmlns:a16="http://schemas.microsoft.com/office/drawing/2014/main" id="{EBD8560D-BCB6-B340-A2E1-E696D3E047EB}"/>
              </a:ext>
            </a:extLst>
          </p:cNvPr>
          <p:cNvSpPr/>
          <p:nvPr userDrawn="1"/>
        </p:nvSpPr>
        <p:spPr>
          <a:xfrm>
            <a:off x="8565883" y="5980149"/>
            <a:ext cx="630000" cy="630000"/>
          </a:xfrm>
          <a:custGeom>
            <a:avLst/>
            <a:gdLst>
              <a:gd name="connsiteX0" fmla="*/ 630000 w 630000"/>
              <a:gd name="connsiteY0" fmla="*/ 0 h 630000"/>
              <a:gd name="connsiteX1" fmla="*/ 630000 w 630000"/>
              <a:gd name="connsiteY1" fmla="*/ 630000 h 630000"/>
              <a:gd name="connsiteX2" fmla="*/ 0 w 630000"/>
              <a:gd name="connsiteY2" fmla="*/ 630000 h 630000"/>
              <a:gd name="connsiteX3" fmla="*/ 630000 w 630000"/>
              <a:gd name="connsiteY3" fmla="*/ 0 h 63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000" h="630000">
                <a:moveTo>
                  <a:pt x="630000" y="0"/>
                </a:moveTo>
                <a:lnTo>
                  <a:pt x="630000" y="630000"/>
                </a:lnTo>
                <a:lnTo>
                  <a:pt x="0" y="630000"/>
                </a:lnTo>
                <a:cubicBezTo>
                  <a:pt x="347939" y="630000"/>
                  <a:pt x="630000" y="347939"/>
                  <a:pt x="630000" y="0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51" name="Freeform 50">
            <a:extLst>
              <a:ext uri="{FF2B5EF4-FFF2-40B4-BE49-F238E27FC236}">
                <a16:creationId xmlns:a16="http://schemas.microsoft.com/office/drawing/2014/main" id="{2F2A6FD6-F5DE-8044-89C0-F7DBB448F79D}"/>
              </a:ext>
            </a:extLst>
          </p:cNvPr>
          <p:cNvSpPr/>
          <p:nvPr userDrawn="1"/>
        </p:nvSpPr>
        <p:spPr>
          <a:xfrm>
            <a:off x="9195883" y="3429000"/>
            <a:ext cx="3030489" cy="3429000"/>
          </a:xfrm>
          <a:custGeom>
            <a:avLst/>
            <a:gdLst>
              <a:gd name="connsiteX0" fmla="*/ 630000 w 3030489"/>
              <a:gd name="connsiteY0" fmla="*/ 0 h 3429000"/>
              <a:gd name="connsiteX1" fmla="*/ 3030489 w 3030489"/>
              <a:gd name="connsiteY1" fmla="*/ 0 h 3429000"/>
              <a:gd name="connsiteX2" fmla="*/ 3030489 w 3030489"/>
              <a:gd name="connsiteY2" fmla="*/ 3429000 h 3429000"/>
              <a:gd name="connsiteX3" fmla="*/ 0 w 3030489"/>
              <a:gd name="connsiteY3" fmla="*/ 3429000 h 3429000"/>
              <a:gd name="connsiteX4" fmla="*/ 0 w 3030489"/>
              <a:gd name="connsiteY4" fmla="*/ 630000 h 3429000"/>
              <a:gd name="connsiteX5" fmla="*/ 630000 w 3030489"/>
              <a:gd name="connsiteY5" fmla="*/ 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30489" h="3429000">
                <a:moveTo>
                  <a:pt x="630000" y="0"/>
                </a:moveTo>
                <a:lnTo>
                  <a:pt x="3030489" y="0"/>
                </a:lnTo>
                <a:lnTo>
                  <a:pt x="3030489" y="3429000"/>
                </a:lnTo>
                <a:lnTo>
                  <a:pt x="0" y="3429000"/>
                </a:lnTo>
                <a:lnTo>
                  <a:pt x="0" y="630000"/>
                </a:ln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pic>
        <p:nvPicPr>
          <p:cNvPr id="43" name="Picture 10">
            <a:extLst>
              <a:ext uri="{FF2B5EF4-FFF2-40B4-BE49-F238E27FC236}">
                <a16:creationId xmlns:a16="http://schemas.microsoft.com/office/drawing/2014/main" id="{82D1C6F6-2067-45D1-BA84-4998355AD8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11695841" y="6428255"/>
            <a:ext cx="360363" cy="360363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5" name="Agrupar 23">
            <a:extLst>
              <a:ext uri="{FF2B5EF4-FFF2-40B4-BE49-F238E27FC236}">
                <a16:creationId xmlns:a16="http://schemas.microsoft.com/office/drawing/2014/main" id="{0CE31377-9F81-49F9-BE4E-B5A8E85DB9A3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7048832E-006C-41F0-B11A-7E682BE45D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81BD1372-B2CE-4742-BCD8-9E626725D8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52" name="Oval 27">
              <a:extLst>
                <a:ext uri="{FF2B5EF4-FFF2-40B4-BE49-F238E27FC236}">
                  <a16:creationId xmlns:a16="http://schemas.microsoft.com/office/drawing/2014/main" id="{118C712A-CE17-493B-A8E1-EDE5EABE03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53" name="Freeform 14">
              <a:extLst>
                <a:ext uri="{FF2B5EF4-FFF2-40B4-BE49-F238E27FC236}">
                  <a16:creationId xmlns:a16="http://schemas.microsoft.com/office/drawing/2014/main" id="{2E48AA54-EB0C-417D-AF15-5C7C54D52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54" name="Freeform 13">
              <a:extLst>
                <a:ext uri="{FF2B5EF4-FFF2-40B4-BE49-F238E27FC236}">
                  <a16:creationId xmlns:a16="http://schemas.microsoft.com/office/drawing/2014/main" id="{9182522E-9B5E-4950-A152-A08CDC9D70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05555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: Forma 44">
            <a:extLst>
              <a:ext uri="{FF2B5EF4-FFF2-40B4-BE49-F238E27FC236}">
                <a16:creationId xmlns:a16="http://schemas.microsoft.com/office/drawing/2014/main" id="{72D949EC-8CFB-47ED-A596-52A406669F30}"/>
              </a:ext>
            </a:extLst>
          </p:cNvPr>
          <p:cNvSpPr/>
          <p:nvPr userDrawn="1"/>
        </p:nvSpPr>
        <p:spPr>
          <a:xfrm>
            <a:off x="0" y="0"/>
            <a:ext cx="12192163" cy="6858001"/>
          </a:xfrm>
          <a:custGeom>
            <a:avLst/>
            <a:gdLst>
              <a:gd name="connsiteX0" fmla="*/ 9424943 w 12192163"/>
              <a:gd name="connsiteY0" fmla="*/ 0 h 6858001"/>
              <a:gd name="connsiteX1" fmla="*/ 12173658 w 12192163"/>
              <a:gd name="connsiteY1" fmla="*/ 0 h 6858001"/>
              <a:gd name="connsiteX2" fmla="*/ 12192000 w 12192163"/>
              <a:gd name="connsiteY2" fmla="*/ 0 h 6858001"/>
              <a:gd name="connsiteX3" fmla="*/ 12192000 w 12192163"/>
              <a:gd name="connsiteY3" fmla="*/ 2702992 h 6858001"/>
              <a:gd name="connsiteX4" fmla="*/ 12192000 w 12192163"/>
              <a:gd name="connsiteY4" fmla="*/ 6604054 h 6858001"/>
              <a:gd name="connsiteX5" fmla="*/ 12192163 w 12192163"/>
              <a:gd name="connsiteY5" fmla="*/ 6604054 h 6858001"/>
              <a:gd name="connsiteX6" fmla="*/ 12192000 w 12192163"/>
              <a:gd name="connsiteY6" fmla="*/ 6858000 h 6858001"/>
              <a:gd name="connsiteX7" fmla="*/ 12191999 w 12192163"/>
              <a:gd name="connsiteY7" fmla="*/ 6858000 h 6858001"/>
              <a:gd name="connsiteX8" fmla="*/ 12191999 w 12192163"/>
              <a:gd name="connsiteY8" fmla="*/ 6858001 h 6858001"/>
              <a:gd name="connsiteX9" fmla="*/ 0 w 12192163"/>
              <a:gd name="connsiteY9" fmla="*/ 6858001 h 6858001"/>
              <a:gd name="connsiteX10" fmla="*/ 0 w 12192163"/>
              <a:gd name="connsiteY10" fmla="*/ 6379648 h 6858001"/>
              <a:gd name="connsiteX11" fmla="*/ 897812 w 12192163"/>
              <a:gd name="connsiteY11" fmla="*/ 6381492 h 6858001"/>
              <a:gd name="connsiteX12" fmla="*/ 1389496 w 12192163"/>
              <a:gd name="connsiteY12" fmla="*/ 6383262 h 6858001"/>
              <a:gd name="connsiteX13" fmla="*/ 3218751 w 12192163"/>
              <a:gd name="connsiteY13" fmla="*/ 6598065 h 6858001"/>
              <a:gd name="connsiteX14" fmla="*/ 7750994 w 12192163"/>
              <a:gd name="connsiteY14" fmla="*/ 6601091 h 6858001"/>
              <a:gd name="connsiteX15" fmla="*/ 7829830 w 12192163"/>
              <a:gd name="connsiteY15" fmla="*/ 6594582 h 6858001"/>
              <a:gd name="connsiteX16" fmla="*/ 10631748 w 12192163"/>
              <a:gd name="connsiteY16" fmla="*/ 2702992 h 6858001"/>
              <a:gd name="connsiteX17" fmla="*/ 10676566 w 12192163"/>
              <a:gd name="connsiteY17" fmla="*/ 2624426 h 6858001"/>
              <a:gd name="connsiteX18" fmla="*/ 10697396 w 12192163"/>
              <a:gd name="connsiteY18" fmla="*/ 2587910 h 6858001"/>
              <a:gd name="connsiteX19" fmla="*/ 10794003 w 12192163"/>
              <a:gd name="connsiteY19" fmla="*/ 2402452 h 6858001"/>
              <a:gd name="connsiteX20" fmla="*/ 10943777 w 12192163"/>
              <a:gd name="connsiteY20" fmla="*/ 1675886 h 6858001"/>
              <a:gd name="connsiteX21" fmla="*/ 9424943 w 12192163"/>
              <a:gd name="connsiteY21" fmla="*/ 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163" h="6858001">
                <a:moveTo>
                  <a:pt x="9424943" y="0"/>
                </a:moveTo>
                <a:lnTo>
                  <a:pt x="12173658" y="0"/>
                </a:lnTo>
                <a:lnTo>
                  <a:pt x="12192000" y="0"/>
                </a:lnTo>
                <a:lnTo>
                  <a:pt x="12192000" y="2702992"/>
                </a:lnTo>
                <a:lnTo>
                  <a:pt x="12192000" y="6604054"/>
                </a:lnTo>
                <a:lnTo>
                  <a:pt x="12192163" y="6604054"/>
                </a:lnTo>
                <a:cubicBezTo>
                  <a:pt x="12192109" y="6688703"/>
                  <a:pt x="12192054" y="6773351"/>
                  <a:pt x="12192000" y="6858000"/>
                </a:cubicBezTo>
                <a:lnTo>
                  <a:pt x="12191999" y="6858000"/>
                </a:lnTo>
                <a:lnTo>
                  <a:pt x="12191999" y="6858001"/>
                </a:lnTo>
                <a:lnTo>
                  <a:pt x="0" y="6858001"/>
                </a:lnTo>
                <a:lnTo>
                  <a:pt x="0" y="6379648"/>
                </a:lnTo>
                <a:lnTo>
                  <a:pt x="897812" y="6381492"/>
                </a:lnTo>
                <a:lnTo>
                  <a:pt x="1389496" y="6383262"/>
                </a:lnTo>
                <a:cubicBezTo>
                  <a:pt x="2155312" y="6391609"/>
                  <a:pt x="1782436" y="6598551"/>
                  <a:pt x="3218751" y="6598065"/>
                </a:cubicBezTo>
                <a:lnTo>
                  <a:pt x="7750994" y="6601091"/>
                </a:lnTo>
                <a:lnTo>
                  <a:pt x="7829830" y="6594582"/>
                </a:lnTo>
                <a:cubicBezTo>
                  <a:pt x="8712692" y="6443610"/>
                  <a:pt x="10001119" y="3878394"/>
                  <a:pt x="10631748" y="2702992"/>
                </a:cubicBezTo>
                <a:lnTo>
                  <a:pt x="10676566" y="2624426"/>
                </a:lnTo>
                <a:lnTo>
                  <a:pt x="10697396" y="2587910"/>
                </a:lnTo>
                <a:lnTo>
                  <a:pt x="10794003" y="2402452"/>
                </a:lnTo>
                <a:cubicBezTo>
                  <a:pt x="10889987" y="2182654"/>
                  <a:pt x="10943777" y="1936201"/>
                  <a:pt x="10943777" y="1675886"/>
                </a:cubicBezTo>
                <a:cubicBezTo>
                  <a:pt x="10943777" y="750319"/>
                  <a:pt x="10263772" y="0"/>
                  <a:pt x="9424943" y="0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25" name="Retângulo 4">
            <a:extLst>
              <a:ext uri="{FF2B5EF4-FFF2-40B4-BE49-F238E27FC236}">
                <a16:creationId xmlns:a16="http://schemas.microsoft.com/office/drawing/2014/main" id="{32591978-834B-914D-A326-B0368BF03B87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6" name="Retângulo 5">
            <a:extLst>
              <a:ext uri="{FF2B5EF4-FFF2-40B4-BE49-F238E27FC236}">
                <a16:creationId xmlns:a16="http://schemas.microsoft.com/office/drawing/2014/main" id="{32D24456-B131-9646-8A0E-972710980F7D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7" name="Retângulo 6">
            <a:extLst>
              <a:ext uri="{FF2B5EF4-FFF2-40B4-BE49-F238E27FC236}">
                <a16:creationId xmlns:a16="http://schemas.microsoft.com/office/drawing/2014/main" id="{100C1D83-BAE0-C140-ABA1-B6177A885A94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8" name="Retângulo 7">
            <a:extLst>
              <a:ext uri="{FF2B5EF4-FFF2-40B4-BE49-F238E27FC236}">
                <a16:creationId xmlns:a16="http://schemas.microsoft.com/office/drawing/2014/main" id="{96949C18-30F2-444F-9C98-47F706141272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9" name="Retângulo 8">
            <a:extLst>
              <a:ext uri="{FF2B5EF4-FFF2-40B4-BE49-F238E27FC236}">
                <a16:creationId xmlns:a16="http://schemas.microsoft.com/office/drawing/2014/main" id="{E7C3338E-68F2-0D45-9072-E9CED9324FEF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0" name="Retângulo 9">
            <a:extLst>
              <a:ext uri="{FF2B5EF4-FFF2-40B4-BE49-F238E27FC236}">
                <a16:creationId xmlns:a16="http://schemas.microsoft.com/office/drawing/2014/main" id="{BA67900C-E23B-7B4A-AB96-DF85AC45E5CD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1" name="Retângulo 10">
            <a:extLst>
              <a:ext uri="{FF2B5EF4-FFF2-40B4-BE49-F238E27FC236}">
                <a16:creationId xmlns:a16="http://schemas.microsoft.com/office/drawing/2014/main" id="{F71AAFD4-B273-2F44-BE8B-19EE21DCEC65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2" name="Retângulo 11">
            <a:extLst>
              <a:ext uri="{FF2B5EF4-FFF2-40B4-BE49-F238E27FC236}">
                <a16:creationId xmlns:a16="http://schemas.microsoft.com/office/drawing/2014/main" id="{FE7EE06C-7EDF-0A4E-BD66-CA8B4D56E9C8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3" name="Retângulo 12">
            <a:extLst>
              <a:ext uri="{FF2B5EF4-FFF2-40B4-BE49-F238E27FC236}">
                <a16:creationId xmlns:a16="http://schemas.microsoft.com/office/drawing/2014/main" id="{E28F2AF3-530D-634B-A24A-047E1603B8BC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4" name="Retângulo 13">
            <a:extLst>
              <a:ext uri="{FF2B5EF4-FFF2-40B4-BE49-F238E27FC236}">
                <a16:creationId xmlns:a16="http://schemas.microsoft.com/office/drawing/2014/main" id="{DE077124-DA5D-5843-ABB4-33963FA9AAEA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5" name="Retângulo 14">
            <a:extLst>
              <a:ext uri="{FF2B5EF4-FFF2-40B4-BE49-F238E27FC236}">
                <a16:creationId xmlns:a16="http://schemas.microsoft.com/office/drawing/2014/main" id="{E0F904BB-1CE3-F94C-94C1-14D2AC3BAEB8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48" name="Espaço Reservado para Conteúdo 16">
            <a:extLst>
              <a:ext uri="{FF2B5EF4-FFF2-40B4-BE49-F238E27FC236}">
                <a16:creationId xmlns:a16="http://schemas.microsoft.com/office/drawing/2014/main" id="{43231CAE-D374-D54F-B58C-D1E5BD5A4A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5629" y="1426732"/>
            <a:ext cx="11689063" cy="4351338"/>
          </a:xfrm>
        </p:spPr>
        <p:txBody>
          <a:bodyPr/>
          <a:lstStyle/>
          <a:p>
            <a:pPr marL="0" indent="0">
              <a:buNone/>
            </a:pPr>
            <a:endParaRPr lang="pt-BR"/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B16615F7-072F-3945-9F14-F39BE7EF9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629" y="176400"/>
            <a:ext cx="10152959" cy="868013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675C53"/>
                </a:solidFill>
              </a:defRPr>
            </a:lvl1pPr>
          </a:lstStyle>
          <a:p>
            <a:endParaRPr lang="pt-BR"/>
          </a:p>
        </p:txBody>
      </p:sp>
      <p:pic>
        <p:nvPicPr>
          <p:cNvPr id="46" name="Picture 10">
            <a:extLst>
              <a:ext uri="{FF2B5EF4-FFF2-40B4-BE49-F238E27FC236}">
                <a16:creationId xmlns:a16="http://schemas.microsoft.com/office/drawing/2014/main" id="{21CD1EF1-3C44-4725-9B42-F8934C635BD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rcRect/>
          <a:stretch/>
        </p:blipFill>
        <p:spPr bwMode="auto">
          <a:xfrm>
            <a:off x="11695841" y="6428255"/>
            <a:ext cx="360363" cy="360363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Agrupar 23">
            <a:extLst>
              <a:ext uri="{FF2B5EF4-FFF2-40B4-BE49-F238E27FC236}">
                <a16:creationId xmlns:a16="http://schemas.microsoft.com/office/drawing/2014/main" id="{D9349058-88AB-43C2-B15C-4D6511197C4B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E04E14CB-50E4-45E3-9ACE-41FA801F38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44" name="Freeform 26">
              <a:extLst>
                <a:ext uri="{FF2B5EF4-FFF2-40B4-BE49-F238E27FC236}">
                  <a16:creationId xmlns:a16="http://schemas.microsoft.com/office/drawing/2014/main" id="{CDD096A0-3EAE-430B-B094-0F0DE1E99B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47" name="Oval 27">
              <a:extLst>
                <a:ext uri="{FF2B5EF4-FFF2-40B4-BE49-F238E27FC236}">
                  <a16:creationId xmlns:a16="http://schemas.microsoft.com/office/drawing/2014/main" id="{F1ECFE74-48B4-40D6-8D80-60F20972B4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EEBBAC69-926B-476F-8661-3EF5D79ED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51" name="Freeform 13">
              <a:extLst>
                <a:ext uri="{FF2B5EF4-FFF2-40B4-BE49-F238E27FC236}">
                  <a16:creationId xmlns:a16="http://schemas.microsoft.com/office/drawing/2014/main" id="{BB5E3209-7374-4559-AAA8-8B814F64C6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  <p:pic>
        <p:nvPicPr>
          <p:cNvPr id="37" name="Imagem 36" descr="Texto, Logotipo&#10;&#10;Descrição gerada automaticamente">
            <a:extLst>
              <a:ext uri="{FF2B5EF4-FFF2-40B4-BE49-F238E27FC236}">
                <a16:creationId xmlns:a16="http://schemas.microsoft.com/office/drawing/2014/main" id="{82208BBE-BDB6-4B2F-84A1-3867BD0BE6E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402" y="190048"/>
            <a:ext cx="1487783" cy="37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011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873A898-6F20-4BE8-A3C8-F8250E41B1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5873A898-6F20-4BE8-A3C8-F8250E41B1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755D9ED2-4D90-47DB-89FA-CACA3380B13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6000" b="0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12DFDC1-A74A-4C0C-8D65-B459DAC015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52B64EB-F7FB-47E6-8EDD-923F2E3529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8D9FD97-B8AA-4978-901C-B42770EA5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1A56B6A-804E-4131-9922-1C7466597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C49CC3F-646C-4642-AD82-858AE7A07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CB1C7-BC24-4B1A-8401-3570DFE411D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799587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tângulo 3">
            <a:extLst>
              <a:ext uri="{FF2B5EF4-FFF2-40B4-BE49-F238E27FC236}">
                <a16:creationId xmlns:a16="http://schemas.microsoft.com/office/drawing/2014/main" id="{58157A3A-C2D0-47C2-8515-66773A763B24}"/>
              </a:ext>
            </a:extLst>
          </p:cNvPr>
          <p:cNvSpPr/>
          <p:nvPr userDrawn="1"/>
        </p:nvSpPr>
        <p:spPr>
          <a:xfrm flipH="1" flipV="1">
            <a:off x="1" y="-13387"/>
            <a:ext cx="12199658" cy="594299"/>
          </a:xfrm>
          <a:custGeom>
            <a:avLst/>
            <a:gdLst>
              <a:gd name="connsiteX0" fmla="*/ 0 w 12192000"/>
              <a:gd name="connsiteY0" fmla="*/ 0 h 581340"/>
              <a:gd name="connsiteX1" fmla="*/ 12192000 w 12192000"/>
              <a:gd name="connsiteY1" fmla="*/ 0 h 581340"/>
              <a:gd name="connsiteX2" fmla="*/ 12192000 w 12192000"/>
              <a:gd name="connsiteY2" fmla="*/ 581340 h 581340"/>
              <a:gd name="connsiteX3" fmla="*/ 0 w 12192000"/>
              <a:gd name="connsiteY3" fmla="*/ 581340 h 581340"/>
              <a:gd name="connsiteX4" fmla="*/ 0 w 12192000"/>
              <a:gd name="connsiteY4" fmla="*/ 0 h 581340"/>
              <a:gd name="connsiteX0" fmla="*/ 0 w 12192000"/>
              <a:gd name="connsiteY0" fmla="*/ 10771 h 592111"/>
              <a:gd name="connsiteX1" fmla="*/ 1971207 w 12192000"/>
              <a:gd name="connsiteY1" fmla="*/ 0 h 592111"/>
              <a:gd name="connsiteX2" fmla="*/ 12192000 w 12192000"/>
              <a:gd name="connsiteY2" fmla="*/ 10771 h 592111"/>
              <a:gd name="connsiteX3" fmla="*/ 12192000 w 12192000"/>
              <a:gd name="connsiteY3" fmla="*/ 592111 h 592111"/>
              <a:gd name="connsiteX4" fmla="*/ 0 w 12192000"/>
              <a:gd name="connsiteY4" fmla="*/ 592111 h 592111"/>
              <a:gd name="connsiteX5" fmla="*/ 0 w 12192000"/>
              <a:gd name="connsiteY5" fmla="*/ 10771 h 592111"/>
              <a:gd name="connsiteX0" fmla="*/ 0 w 12192000"/>
              <a:gd name="connsiteY0" fmla="*/ 18266 h 599606"/>
              <a:gd name="connsiteX1" fmla="*/ 1971207 w 12192000"/>
              <a:gd name="connsiteY1" fmla="*/ 7495 h 599606"/>
              <a:gd name="connsiteX2" fmla="*/ 3904938 w 12192000"/>
              <a:gd name="connsiteY2" fmla="*/ 0 h 599606"/>
              <a:gd name="connsiteX3" fmla="*/ 12192000 w 12192000"/>
              <a:gd name="connsiteY3" fmla="*/ 18266 h 599606"/>
              <a:gd name="connsiteX4" fmla="*/ 12192000 w 12192000"/>
              <a:gd name="connsiteY4" fmla="*/ 599606 h 599606"/>
              <a:gd name="connsiteX5" fmla="*/ 0 w 12192000"/>
              <a:gd name="connsiteY5" fmla="*/ 599606 h 599606"/>
              <a:gd name="connsiteX6" fmla="*/ 0 w 12192000"/>
              <a:gd name="connsiteY6" fmla="*/ 18266 h 599606"/>
              <a:gd name="connsiteX0" fmla="*/ 0 w 12206991"/>
              <a:gd name="connsiteY0" fmla="*/ 18266 h 599606"/>
              <a:gd name="connsiteX1" fmla="*/ 1971207 w 12206991"/>
              <a:gd name="connsiteY1" fmla="*/ 7495 h 599606"/>
              <a:gd name="connsiteX2" fmla="*/ 3904938 w 12206991"/>
              <a:gd name="connsiteY2" fmla="*/ 0 h 599606"/>
              <a:gd name="connsiteX3" fmla="*/ 12206991 w 12206991"/>
              <a:gd name="connsiteY3" fmla="*/ 355545 h 599606"/>
              <a:gd name="connsiteX4" fmla="*/ 12192000 w 12206991"/>
              <a:gd name="connsiteY4" fmla="*/ 599606 h 599606"/>
              <a:gd name="connsiteX5" fmla="*/ 0 w 12206991"/>
              <a:gd name="connsiteY5" fmla="*/ 599606 h 599606"/>
              <a:gd name="connsiteX6" fmla="*/ 0 w 12206991"/>
              <a:gd name="connsiteY6" fmla="*/ 18266 h 599606"/>
              <a:gd name="connsiteX0" fmla="*/ 0 w 12206991"/>
              <a:gd name="connsiteY0" fmla="*/ 10771 h 592111"/>
              <a:gd name="connsiteX1" fmla="*/ 1971207 w 12206991"/>
              <a:gd name="connsiteY1" fmla="*/ 0 h 592111"/>
              <a:gd name="connsiteX2" fmla="*/ 3927423 w 12206991"/>
              <a:gd name="connsiteY2" fmla="*/ 322289 h 592111"/>
              <a:gd name="connsiteX3" fmla="*/ 12206991 w 12206991"/>
              <a:gd name="connsiteY3" fmla="*/ 348050 h 592111"/>
              <a:gd name="connsiteX4" fmla="*/ 12192000 w 12206991"/>
              <a:gd name="connsiteY4" fmla="*/ 592111 h 592111"/>
              <a:gd name="connsiteX5" fmla="*/ 0 w 12206991"/>
              <a:gd name="connsiteY5" fmla="*/ 592111 h 592111"/>
              <a:gd name="connsiteX6" fmla="*/ 0 w 12206991"/>
              <a:gd name="connsiteY6" fmla="*/ 10771 h 592111"/>
              <a:gd name="connsiteX0" fmla="*/ 0 w 12206991"/>
              <a:gd name="connsiteY0" fmla="*/ 10771 h 592111"/>
              <a:gd name="connsiteX1" fmla="*/ 1971207 w 12206991"/>
              <a:gd name="connsiteY1" fmla="*/ 0 h 592111"/>
              <a:gd name="connsiteX2" fmla="*/ 3927423 w 12206991"/>
              <a:gd name="connsiteY2" fmla="*/ 322289 h 592111"/>
              <a:gd name="connsiteX3" fmla="*/ 12206991 w 12206991"/>
              <a:gd name="connsiteY3" fmla="*/ 348050 h 592111"/>
              <a:gd name="connsiteX4" fmla="*/ 12192000 w 12206991"/>
              <a:gd name="connsiteY4" fmla="*/ 592111 h 592111"/>
              <a:gd name="connsiteX5" fmla="*/ 0 w 12206991"/>
              <a:gd name="connsiteY5" fmla="*/ 592111 h 592111"/>
              <a:gd name="connsiteX6" fmla="*/ 0 w 12206991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7423 w 12192163"/>
              <a:gd name="connsiteY2" fmla="*/ 322289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6288 h 587628"/>
              <a:gd name="connsiteX1" fmla="*/ 1406430 w 12192163"/>
              <a:gd name="connsiteY1" fmla="*/ 0 h 587628"/>
              <a:gd name="connsiteX2" fmla="*/ 3922481 w 12192163"/>
              <a:gd name="connsiteY2" fmla="*/ 327692 h 587628"/>
              <a:gd name="connsiteX3" fmla="*/ 12192163 w 12192163"/>
              <a:gd name="connsiteY3" fmla="*/ 333682 h 587628"/>
              <a:gd name="connsiteX4" fmla="*/ 12192000 w 12192163"/>
              <a:gd name="connsiteY4" fmla="*/ 587628 h 587628"/>
              <a:gd name="connsiteX5" fmla="*/ 0 w 12192163"/>
              <a:gd name="connsiteY5" fmla="*/ 587628 h 587628"/>
              <a:gd name="connsiteX6" fmla="*/ 0 w 12192163"/>
              <a:gd name="connsiteY6" fmla="*/ 6288 h 587628"/>
              <a:gd name="connsiteX0" fmla="*/ 0 w 12192163"/>
              <a:gd name="connsiteY0" fmla="*/ 6288 h 587628"/>
              <a:gd name="connsiteX1" fmla="*/ 1406430 w 12192163"/>
              <a:gd name="connsiteY1" fmla="*/ 0 h 587628"/>
              <a:gd name="connsiteX2" fmla="*/ 3218752 w 12192163"/>
              <a:gd name="connsiteY2" fmla="*/ 327692 h 587628"/>
              <a:gd name="connsiteX3" fmla="*/ 12192163 w 12192163"/>
              <a:gd name="connsiteY3" fmla="*/ 333682 h 587628"/>
              <a:gd name="connsiteX4" fmla="*/ 12192000 w 12192163"/>
              <a:gd name="connsiteY4" fmla="*/ 587628 h 587628"/>
              <a:gd name="connsiteX5" fmla="*/ 0 w 12192163"/>
              <a:gd name="connsiteY5" fmla="*/ 587628 h 587628"/>
              <a:gd name="connsiteX6" fmla="*/ 0 w 12192163"/>
              <a:gd name="connsiteY6" fmla="*/ 6288 h 587628"/>
              <a:gd name="connsiteX0" fmla="*/ 0 w 12192163"/>
              <a:gd name="connsiteY0" fmla="*/ 9 h 933618"/>
              <a:gd name="connsiteX1" fmla="*/ 1406430 w 12192163"/>
              <a:gd name="connsiteY1" fmla="*/ 345990 h 933618"/>
              <a:gd name="connsiteX2" fmla="*/ 3218752 w 12192163"/>
              <a:gd name="connsiteY2" fmla="*/ 673682 h 933618"/>
              <a:gd name="connsiteX3" fmla="*/ 12192163 w 12192163"/>
              <a:gd name="connsiteY3" fmla="*/ 679672 h 933618"/>
              <a:gd name="connsiteX4" fmla="*/ 12192000 w 12192163"/>
              <a:gd name="connsiteY4" fmla="*/ 933618 h 933618"/>
              <a:gd name="connsiteX5" fmla="*/ 0 w 12192163"/>
              <a:gd name="connsiteY5" fmla="*/ 933618 h 933618"/>
              <a:gd name="connsiteX6" fmla="*/ 0 w 12192163"/>
              <a:gd name="connsiteY6" fmla="*/ 9 h 933618"/>
              <a:gd name="connsiteX0" fmla="*/ 0 w 12192163"/>
              <a:gd name="connsiteY0" fmla="*/ 0 h 933609"/>
              <a:gd name="connsiteX1" fmla="*/ 1383945 w 12192163"/>
              <a:gd name="connsiteY1" fmla="*/ 1207 h 933609"/>
              <a:gd name="connsiteX2" fmla="*/ 3218752 w 12192163"/>
              <a:gd name="connsiteY2" fmla="*/ 673673 h 933609"/>
              <a:gd name="connsiteX3" fmla="*/ 12192163 w 12192163"/>
              <a:gd name="connsiteY3" fmla="*/ 679663 h 933609"/>
              <a:gd name="connsiteX4" fmla="*/ 12192000 w 12192163"/>
              <a:gd name="connsiteY4" fmla="*/ 933609 h 933609"/>
              <a:gd name="connsiteX5" fmla="*/ 0 w 12192163"/>
              <a:gd name="connsiteY5" fmla="*/ 933609 h 933609"/>
              <a:gd name="connsiteX6" fmla="*/ 0 w 12192163"/>
              <a:gd name="connsiteY6" fmla="*/ 0 h 933609"/>
              <a:gd name="connsiteX0" fmla="*/ 0 w 12192163"/>
              <a:gd name="connsiteY0" fmla="*/ 0 h 933609"/>
              <a:gd name="connsiteX1" fmla="*/ 1383945 w 12192163"/>
              <a:gd name="connsiteY1" fmla="*/ 1207 h 933609"/>
              <a:gd name="connsiteX2" fmla="*/ 3143802 w 12192163"/>
              <a:gd name="connsiteY2" fmla="*/ 216473 h 933609"/>
              <a:gd name="connsiteX3" fmla="*/ 12192163 w 12192163"/>
              <a:gd name="connsiteY3" fmla="*/ 679663 h 933609"/>
              <a:gd name="connsiteX4" fmla="*/ 12192000 w 12192163"/>
              <a:gd name="connsiteY4" fmla="*/ 933609 h 933609"/>
              <a:gd name="connsiteX5" fmla="*/ 0 w 12192163"/>
              <a:gd name="connsiteY5" fmla="*/ 933609 h 933609"/>
              <a:gd name="connsiteX6" fmla="*/ 0 w 12192163"/>
              <a:gd name="connsiteY6" fmla="*/ 0 h 933609"/>
              <a:gd name="connsiteX0" fmla="*/ 0 w 12229638"/>
              <a:gd name="connsiteY0" fmla="*/ 0 h 933609"/>
              <a:gd name="connsiteX1" fmla="*/ 1383945 w 12229638"/>
              <a:gd name="connsiteY1" fmla="*/ 1207 h 933609"/>
              <a:gd name="connsiteX2" fmla="*/ 3143802 w 12229638"/>
              <a:gd name="connsiteY2" fmla="*/ 216473 h 933609"/>
              <a:gd name="connsiteX3" fmla="*/ 12229638 w 12229638"/>
              <a:gd name="connsiteY3" fmla="*/ 222463 h 933609"/>
              <a:gd name="connsiteX4" fmla="*/ 12192000 w 12229638"/>
              <a:gd name="connsiteY4" fmla="*/ 933609 h 933609"/>
              <a:gd name="connsiteX5" fmla="*/ 0 w 12229638"/>
              <a:gd name="connsiteY5" fmla="*/ 933609 h 933609"/>
              <a:gd name="connsiteX6" fmla="*/ 0 w 1222963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43802 w 12199658"/>
              <a:gd name="connsiteY2" fmla="*/ 216473 h 933609"/>
              <a:gd name="connsiteX3" fmla="*/ 12199658 w 12199658"/>
              <a:gd name="connsiteY3" fmla="*/ 19997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43802 w 12199658"/>
              <a:gd name="connsiteY2" fmla="*/ 216473 h 933609"/>
              <a:gd name="connsiteX3" fmla="*/ 12199658 w 12199658"/>
              <a:gd name="connsiteY3" fmla="*/ 19997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61101 w 12199658"/>
              <a:gd name="connsiteY2" fmla="*/ 293085 h 933609"/>
              <a:gd name="connsiteX3" fmla="*/ 12199658 w 12199658"/>
              <a:gd name="connsiteY3" fmla="*/ 19997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61101 w 12199658"/>
              <a:gd name="connsiteY2" fmla="*/ 293085 h 933609"/>
              <a:gd name="connsiteX3" fmla="*/ 12199658 w 12199658"/>
              <a:gd name="connsiteY3" fmla="*/ 29141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6531 w 12199658"/>
              <a:gd name="connsiteY0" fmla="*/ 730314 h 932403"/>
              <a:gd name="connsiteX1" fmla="*/ 1383945 w 12199658"/>
              <a:gd name="connsiteY1" fmla="*/ 1 h 932403"/>
              <a:gd name="connsiteX2" fmla="*/ 3161101 w 12199658"/>
              <a:gd name="connsiteY2" fmla="*/ 291879 h 932403"/>
              <a:gd name="connsiteX3" fmla="*/ 12199658 w 12199658"/>
              <a:gd name="connsiteY3" fmla="*/ 290212 h 932403"/>
              <a:gd name="connsiteX4" fmla="*/ 12192000 w 12199658"/>
              <a:gd name="connsiteY4" fmla="*/ 932403 h 932403"/>
              <a:gd name="connsiteX5" fmla="*/ 0 w 12199658"/>
              <a:gd name="connsiteY5" fmla="*/ 932403 h 932403"/>
              <a:gd name="connsiteX6" fmla="*/ 6531 w 12199658"/>
              <a:gd name="connsiteY6" fmla="*/ 730314 h 932403"/>
              <a:gd name="connsiteX0" fmla="*/ 6531 w 12199658"/>
              <a:gd name="connsiteY0" fmla="*/ 440102 h 642191"/>
              <a:gd name="connsiteX1" fmla="*/ 1377414 w 12199658"/>
              <a:gd name="connsiteY1" fmla="*/ 434777 h 642191"/>
              <a:gd name="connsiteX2" fmla="*/ 3161101 w 12199658"/>
              <a:gd name="connsiteY2" fmla="*/ 1667 h 642191"/>
              <a:gd name="connsiteX3" fmla="*/ 12199658 w 12199658"/>
              <a:gd name="connsiteY3" fmla="*/ 0 h 642191"/>
              <a:gd name="connsiteX4" fmla="*/ 12192000 w 12199658"/>
              <a:gd name="connsiteY4" fmla="*/ 642191 h 642191"/>
              <a:gd name="connsiteX5" fmla="*/ 0 w 12199658"/>
              <a:gd name="connsiteY5" fmla="*/ 642191 h 642191"/>
              <a:gd name="connsiteX6" fmla="*/ 6531 w 12199658"/>
              <a:gd name="connsiteY6" fmla="*/ 440102 h 642191"/>
              <a:gd name="connsiteX0" fmla="*/ 6531 w 12199658"/>
              <a:gd name="connsiteY0" fmla="*/ 440102 h 642191"/>
              <a:gd name="connsiteX1" fmla="*/ 1377414 w 12199658"/>
              <a:gd name="connsiteY1" fmla="*/ 434777 h 642191"/>
              <a:gd name="connsiteX2" fmla="*/ 3161101 w 12199658"/>
              <a:gd name="connsiteY2" fmla="*/ 1667 h 642191"/>
              <a:gd name="connsiteX3" fmla="*/ 12199658 w 12199658"/>
              <a:gd name="connsiteY3" fmla="*/ 0 h 642191"/>
              <a:gd name="connsiteX4" fmla="*/ 12192000 w 12199658"/>
              <a:gd name="connsiteY4" fmla="*/ 642191 h 642191"/>
              <a:gd name="connsiteX5" fmla="*/ 0 w 12199658"/>
              <a:gd name="connsiteY5" fmla="*/ 642191 h 642191"/>
              <a:gd name="connsiteX6" fmla="*/ 6531 w 12199658"/>
              <a:gd name="connsiteY6" fmla="*/ 440102 h 642191"/>
              <a:gd name="connsiteX0" fmla="*/ 6531 w 12199658"/>
              <a:gd name="connsiteY0" fmla="*/ 440102 h 642191"/>
              <a:gd name="connsiteX1" fmla="*/ 1377414 w 12199658"/>
              <a:gd name="connsiteY1" fmla="*/ 434777 h 642191"/>
              <a:gd name="connsiteX2" fmla="*/ 3161101 w 12199658"/>
              <a:gd name="connsiteY2" fmla="*/ 1667 h 642191"/>
              <a:gd name="connsiteX3" fmla="*/ 12199658 w 12199658"/>
              <a:gd name="connsiteY3" fmla="*/ 0 h 642191"/>
              <a:gd name="connsiteX4" fmla="*/ 12192000 w 12199658"/>
              <a:gd name="connsiteY4" fmla="*/ 642191 h 642191"/>
              <a:gd name="connsiteX5" fmla="*/ 0 w 12199658"/>
              <a:gd name="connsiteY5" fmla="*/ 642191 h 642191"/>
              <a:gd name="connsiteX6" fmla="*/ 6531 w 12199658"/>
              <a:gd name="connsiteY6" fmla="*/ 440102 h 642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9658" h="642191">
                <a:moveTo>
                  <a:pt x="6531" y="440102"/>
                </a:moveTo>
                <a:lnTo>
                  <a:pt x="1377414" y="434777"/>
                </a:lnTo>
                <a:cubicBezTo>
                  <a:pt x="2069852" y="451590"/>
                  <a:pt x="1724786" y="2153"/>
                  <a:pt x="3161101" y="1667"/>
                </a:cubicBezTo>
                <a:lnTo>
                  <a:pt x="12199658" y="0"/>
                </a:lnTo>
                <a:cubicBezTo>
                  <a:pt x="12199604" y="84649"/>
                  <a:pt x="12192054" y="557542"/>
                  <a:pt x="12192000" y="642191"/>
                </a:cubicBezTo>
                <a:lnTo>
                  <a:pt x="0" y="642191"/>
                </a:lnTo>
                <a:lnTo>
                  <a:pt x="6531" y="440102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Forma Livre: Forma 23">
            <a:extLst>
              <a:ext uri="{FF2B5EF4-FFF2-40B4-BE49-F238E27FC236}">
                <a16:creationId xmlns:a16="http://schemas.microsoft.com/office/drawing/2014/main" id="{2954A3D9-5809-4359-BCEC-9EE5D55C843F}"/>
              </a:ext>
            </a:extLst>
          </p:cNvPr>
          <p:cNvSpPr/>
          <p:nvPr userDrawn="1"/>
        </p:nvSpPr>
        <p:spPr>
          <a:xfrm>
            <a:off x="0" y="6379648"/>
            <a:ext cx="12192162" cy="478353"/>
          </a:xfrm>
          <a:custGeom>
            <a:avLst/>
            <a:gdLst>
              <a:gd name="connsiteX0" fmla="*/ 0 w 12192162"/>
              <a:gd name="connsiteY0" fmla="*/ 0 h 478353"/>
              <a:gd name="connsiteX1" fmla="*/ 897812 w 12192162"/>
              <a:gd name="connsiteY1" fmla="*/ 1844 h 478353"/>
              <a:gd name="connsiteX2" fmla="*/ 1389496 w 12192162"/>
              <a:gd name="connsiteY2" fmla="*/ 3614 h 478353"/>
              <a:gd name="connsiteX3" fmla="*/ 3218751 w 12192162"/>
              <a:gd name="connsiteY3" fmla="*/ 218417 h 478353"/>
              <a:gd name="connsiteX4" fmla="*/ 12192162 w 12192162"/>
              <a:gd name="connsiteY4" fmla="*/ 224407 h 478353"/>
              <a:gd name="connsiteX5" fmla="*/ 12191999 w 12192162"/>
              <a:gd name="connsiteY5" fmla="*/ 478353 h 478353"/>
              <a:gd name="connsiteX6" fmla="*/ 0 w 12192162"/>
              <a:gd name="connsiteY6" fmla="*/ 478353 h 4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162" h="478353">
                <a:moveTo>
                  <a:pt x="0" y="0"/>
                </a:moveTo>
                <a:lnTo>
                  <a:pt x="897812" y="1844"/>
                </a:lnTo>
                <a:lnTo>
                  <a:pt x="1389496" y="3614"/>
                </a:lnTo>
                <a:cubicBezTo>
                  <a:pt x="2155312" y="11961"/>
                  <a:pt x="1782436" y="218903"/>
                  <a:pt x="3218751" y="218417"/>
                </a:cubicBezTo>
                <a:lnTo>
                  <a:pt x="12192162" y="224407"/>
                </a:lnTo>
                <a:cubicBezTo>
                  <a:pt x="12192108" y="309056"/>
                  <a:pt x="12192053" y="393704"/>
                  <a:pt x="12191999" y="478353"/>
                </a:cubicBezTo>
                <a:lnTo>
                  <a:pt x="0" y="47835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73" name="Retângulo 4">
            <a:extLst>
              <a:ext uri="{FF2B5EF4-FFF2-40B4-BE49-F238E27FC236}">
                <a16:creationId xmlns:a16="http://schemas.microsoft.com/office/drawing/2014/main" id="{4CA31EBD-D983-0D40-99CA-101EB48A6E6D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4" name="Retângulo 5">
            <a:extLst>
              <a:ext uri="{FF2B5EF4-FFF2-40B4-BE49-F238E27FC236}">
                <a16:creationId xmlns:a16="http://schemas.microsoft.com/office/drawing/2014/main" id="{29D49441-9231-A442-8561-2384BADE4378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5" name="Retângulo 6">
            <a:extLst>
              <a:ext uri="{FF2B5EF4-FFF2-40B4-BE49-F238E27FC236}">
                <a16:creationId xmlns:a16="http://schemas.microsoft.com/office/drawing/2014/main" id="{F7640527-FE94-5349-811E-A2E910A8136C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6" name="Retângulo 7">
            <a:extLst>
              <a:ext uri="{FF2B5EF4-FFF2-40B4-BE49-F238E27FC236}">
                <a16:creationId xmlns:a16="http://schemas.microsoft.com/office/drawing/2014/main" id="{3B638C98-8153-084F-BC91-FF9A132098AF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7" name="Retângulo 8">
            <a:extLst>
              <a:ext uri="{FF2B5EF4-FFF2-40B4-BE49-F238E27FC236}">
                <a16:creationId xmlns:a16="http://schemas.microsoft.com/office/drawing/2014/main" id="{6884A18B-D2C7-6240-8842-51A144CF341C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8" name="Retângulo 9">
            <a:extLst>
              <a:ext uri="{FF2B5EF4-FFF2-40B4-BE49-F238E27FC236}">
                <a16:creationId xmlns:a16="http://schemas.microsoft.com/office/drawing/2014/main" id="{24C46CAB-AC79-FB44-9FE5-10BE6CD36186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9" name="Retângulo 10">
            <a:extLst>
              <a:ext uri="{FF2B5EF4-FFF2-40B4-BE49-F238E27FC236}">
                <a16:creationId xmlns:a16="http://schemas.microsoft.com/office/drawing/2014/main" id="{A90F9425-5A51-3B4F-8146-65B58B0D7858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0" name="Retângulo 11">
            <a:extLst>
              <a:ext uri="{FF2B5EF4-FFF2-40B4-BE49-F238E27FC236}">
                <a16:creationId xmlns:a16="http://schemas.microsoft.com/office/drawing/2014/main" id="{206BCEC6-DDEC-3A4A-8632-AE5121D85535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1" name="Retângulo 12">
            <a:extLst>
              <a:ext uri="{FF2B5EF4-FFF2-40B4-BE49-F238E27FC236}">
                <a16:creationId xmlns:a16="http://schemas.microsoft.com/office/drawing/2014/main" id="{2D82E554-646B-AC40-92DB-034DC637D8B8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2" name="Retângulo 13">
            <a:extLst>
              <a:ext uri="{FF2B5EF4-FFF2-40B4-BE49-F238E27FC236}">
                <a16:creationId xmlns:a16="http://schemas.microsoft.com/office/drawing/2014/main" id="{4DC6A1B2-4201-9E4C-87B2-C5F15A8F3ED3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3" name="Retângulo 14">
            <a:extLst>
              <a:ext uri="{FF2B5EF4-FFF2-40B4-BE49-F238E27FC236}">
                <a16:creationId xmlns:a16="http://schemas.microsoft.com/office/drawing/2014/main" id="{724AB98E-4D47-B647-A7F8-0F4CB9AB3982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pic>
        <p:nvPicPr>
          <p:cNvPr id="84" name="Imagem 2">
            <a:extLst>
              <a:ext uri="{FF2B5EF4-FFF2-40B4-BE49-F238E27FC236}">
                <a16:creationId xmlns:a16="http://schemas.microsoft.com/office/drawing/2014/main" id="{AADDE99A-0728-0242-B16A-CB35B371E8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9116" y="149337"/>
            <a:ext cx="1489367" cy="431576"/>
          </a:xfrm>
          <a:prstGeom prst="rect">
            <a:avLst/>
          </a:prstGeom>
        </p:spPr>
      </p:pic>
      <p:sp>
        <p:nvSpPr>
          <p:cNvPr id="92" name="Espaço Reservado para Conteúdo 16">
            <a:extLst>
              <a:ext uri="{FF2B5EF4-FFF2-40B4-BE49-F238E27FC236}">
                <a16:creationId xmlns:a16="http://schemas.microsoft.com/office/drawing/2014/main" id="{4186F925-99FD-C54A-867C-50D403360B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5629" y="1426732"/>
            <a:ext cx="11689063" cy="4351338"/>
          </a:xfrm>
        </p:spPr>
        <p:txBody>
          <a:bodyPr/>
          <a:lstStyle/>
          <a:p>
            <a:pPr marL="0" indent="0">
              <a:buNone/>
            </a:pPr>
            <a:endParaRPr lang="pt-BR"/>
          </a:p>
        </p:txBody>
      </p:sp>
      <p:sp>
        <p:nvSpPr>
          <p:cNvPr id="93" name="Title 1">
            <a:extLst>
              <a:ext uri="{FF2B5EF4-FFF2-40B4-BE49-F238E27FC236}">
                <a16:creationId xmlns:a16="http://schemas.microsoft.com/office/drawing/2014/main" id="{07966D6B-69A4-EB4B-9D2F-7107E88CD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629" y="176400"/>
            <a:ext cx="10152959" cy="868013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endParaRPr lang="pt-BR"/>
          </a:p>
        </p:txBody>
      </p:sp>
      <p:pic>
        <p:nvPicPr>
          <p:cNvPr id="25" name="Picture 10">
            <a:extLst>
              <a:ext uri="{FF2B5EF4-FFF2-40B4-BE49-F238E27FC236}">
                <a16:creationId xmlns:a16="http://schemas.microsoft.com/office/drawing/2014/main" id="{01595CA5-4E50-4C21-BC03-610B0AB18E5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11695841" y="6428255"/>
            <a:ext cx="360363" cy="360363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7" name="Agrupar 23">
            <a:extLst>
              <a:ext uri="{FF2B5EF4-FFF2-40B4-BE49-F238E27FC236}">
                <a16:creationId xmlns:a16="http://schemas.microsoft.com/office/drawing/2014/main" id="{41701C40-C433-4F40-BC3C-58F3CEED9F1E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4D713571-3463-4865-A7A7-9E4DED870E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B08A4A66-464F-4A99-94FA-2CB44BE60C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30" name="Oval 27">
              <a:extLst>
                <a:ext uri="{FF2B5EF4-FFF2-40B4-BE49-F238E27FC236}">
                  <a16:creationId xmlns:a16="http://schemas.microsoft.com/office/drawing/2014/main" id="{39BC6B2E-BFB3-498B-BF0E-55017B4E8C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5ED57A6E-A1B7-46EB-9457-0770A13E6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4D9FDECA-6A31-4FEA-A743-BD3A68EF42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27723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tângulo 3">
            <a:extLst>
              <a:ext uri="{FF2B5EF4-FFF2-40B4-BE49-F238E27FC236}">
                <a16:creationId xmlns:a16="http://schemas.microsoft.com/office/drawing/2014/main" id="{81340CCB-530A-46D3-92E5-4711046949CF}"/>
              </a:ext>
            </a:extLst>
          </p:cNvPr>
          <p:cNvSpPr/>
          <p:nvPr userDrawn="1"/>
        </p:nvSpPr>
        <p:spPr>
          <a:xfrm flipH="1" flipV="1">
            <a:off x="1" y="-13387"/>
            <a:ext cx="12199658" cy="594299"/>
          </a:xfrm>
          <a:custGeom>
            <a:avLst/>
            <a:gdLst>
              <a:gd name="connsiteX0" fmla="*/ 0 w 12192000"/>
              <a:gd name="connsiteY0" fmla="*/ 0 h 581340"/>
              <a:gd name="connsiteX1" fmla="*/ 12192000 w 12192000"/>
              <a:gd name="connsiteY1" fmla="*/ 0 h 581340"/>
              <a:gd name="connsiteX2" fmla="*/ 12192000 w 12192000"/>
              <a:gd name="connsiteY2" fmla="*/ 581340 h 581340"/>
              <a:gd name="connsiteX3" fmla="*/ 0 w 12192000"/>
              <a:gd name="connsiteY3" fmla="*/ 581340 h 581340"/>
              <a:gd name="connsiteX4" fmla="*/ 0 w 12192000"/>
              <a:gd name="connsiteY4" fmla="*/ 0 h 581340"/>
              <a:gd name="connsiteX0" fmla="*/ 0 w 12192000"/>
              <a:gd name="connsiteY0" fmla="*/ 10771 h 592111"/>
              <a:gd name="connsiteX1" fmla="*/ 1971207 w 12192000"/>
              <a:gd name="connsiteY1" fmla="*/ 0 h 592111"/>
              <a:gd name="connsiteX2" fmla="*/ 12192000 w 12192000"/>
              <a:gd name="connsiteY2" fmla="*/ 10771 h 592111"/>
              <a:gd name="connsiteX3" fmla="*/ 12192000 w 12192000"/>
              <a:gd name="connsiteY3" fmla="*/ 592111 h 592111"/>
              <a:gd name="connsiteX4" fmla="*/ 0 w 12192000"/>
              <a:gd name="connsiteY4" fmla="*/ 592111 h 592111"/>
              <a:gd name="connsiteX5" fmla="*/ 0 w 12192000"/>
              <a:gd name="connsiteY5" fmla="*/ 10771 h 592111"/>
              <a:gd name="connsiteX0" fmla="*/ 0 w 12192000"/>
              <a:gd name="connsiteY0" fmla="*/ 18266 h 599606"/>
              <a:gd name="connsiteX1" fmla="*/ 1971207 w 12192000"/>
              <a:gd name="connsiteY1" fmla="*/ 7495 h 599606"/>
              <a:gd name="connsiteX2" fmla="*/ 3904938 w 12192000"/>
              <a:gd name="connsiteY2" fmla="*/ 0 h 599606"/>
              <a:gd name="connsiteX3" fmla="*/ 12192000 w 12192000"/>
              <a:gd name="connsiteY3" fmla="*/ 18266 h 599606"/>
              <a:gd name="connsiteX4" fmla="*/ 12192000 w 12192000"/>
              <a:gd name="connsiteY4" fmla="*/ 599606 h 599606"/>
              <a:gd name="connsiteX5" fmla="*/ 0 w 12192000"/>
              <a:gd name="connsiteY5" fmla="*/ 599606 h 599606"/>
              <a:gd name="connsiteX6" fmla="*/ 0 w 12192000"/>
              <a:gd name="connsiteY6" fmla="*/ 18266 h 599606"/>
              <a:gd name="connsiteX0" fmla="*/ 0 w 12206991"/>
              <a:gd name="connsiteY0" fmla="*/ 18266 h 599606"/>
              <a:gd name="connsiteX1" fmla="*/ 1971207 w 12206991"/>
              <a:gd name="connsiteY1" fmla="*/ 7495 h 599606"/>
              <a:gd name="connsiteX2" fmla="*/ 3904938 w 12206991"/>
              <a:gd name="connsiteY2" fmla="*/ 0 h 599606"/>
              <a:gd name="connsiteX3" fmla="*/ 12206991 w 12206991"/>
              <a:gd name="connsiteY3" fmla="*/ 355545 h 599606"/>
              <a:gd name="connsiteX4" fmla="*/ 12192000 w 12206991"/>
              <a:gd name="connsiteY4" fmla="*/ 599606 h 599606"/>
              <a:gd name="connsiteX5" fmla="*/ 0 w 12206991"/>
              <a:gd name="connsiteY5" fmla="*/ 599606 h 599606"/>
              <a:gd name="connsiteX6" fmla="*/ 0 w 12206991"/>
              <a:gd name="connsiteY6" fmla="*/ 18266 h 599606"/>
              <a:gd name="connsiteX0" fmla="*/ 0 w 12206991"/>
              <a:gd name="connsiteY0" fmla="*/ 10771 h 592111"/>
              <a:gd name="connsiteX1" fmla="*/ 1971207 w 12206991"/>
              <a:gd name="connsiteY1" fmla="*/ 0 h 592111"/>
              <a:gd name="connsiteX2" fmla="*/ 3927423 w 12206991"/>
              <a:gd name="connsiteY2" fmla="*/ 322289 h 592111"/>
              <a:gd name="connsiteX3" fmla="*/ 12206991 w 12206991"/>
              <a:gd name="connsiteY3" fmla="*/ 348050 h 592111"/>
              <a:gd name="connsiteX4" fmla="*/ 12192000 w 12206991"/>
              <a:gd name="connsiteY4" fmla="*/ 592111 h 592111"/>
              <a:gd name="connsiteX5" fmla="*/ 0 w 12206991"/>
              <a:gd name="connsiteY5" fmla="*/ 592111 h 592111"/>
              <a:gd name="connsiteX6" fmla="*/ 0 w 12206991"/>
              <a:gd name="connsiteY6" fmla="*/ 10771 h 592111"/>
              <a:gd name="connsiteX0" fmla="*/ 0 w 12206991"/>
              <a:gd name="connsiteY0" fmla="*/ 10771 h 592111"/>
              <a:gd name="connsiteX1" fmla="*/ 1971207 w 12206991"/>
              <a:gd name="connsiteY1" fmla="*/ 0 h 592111"/>
              <a:gd name="connsiteX2" fmla="*/ 3927423 w 12206991"/>
              <a:gd name="connsiteY2" fmla="*/ 322289 h 592111"/>
              <a:gd name="connsiteX3" fmla="*/ 12206991 w 12206991"/>
              <a:gd name="connsiteY3" fmla="*/ 348050 h 592111"/>
              <a:gd name="connsiteX4" fmla="*/ 12192000 w 12206991"/>
              <a:gd name="connsiteY4" fmla="*/ 592111 h 592111"/>
              <a:gd name="connsiteX5" fmla="*/ 0 w 12206991"/>
              <a:gd name="connsiteY5" fmla="*/ 592111 h 592111"/>
              <a:gd name="connsiteX6" fmla="*/ 0 w 12206991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7423 w 12192163"/>
              <a:gd name="connsiteY2" fmla="*/ 322289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6288 h 587628"/>
              <a:gd name="connsiteX1" fmla="*/ 1406430 w 12192163"/>
              <a:gd name="connsiteY1" fmla="*/ 0 h 587628"/>
              <a:gd name="connsiteX2" fmla="*/ 3922481 w 12192163"/>
              <a:gd name="connsiteY2" fmla="*/ 327692 h 587628"/>
              <a:gd name="connsiteX3" fmla="*/ 12192163 w 12192163"/>
              <a:gd name="connsiteY3" fmla="*/ 333682 h 587628"/>
              <a:gd name="connsiteX4" fmla="*/ 12192000 w 12192163"/>
              <a:gd name="connsiteY4" fmla="*/ 587628 h 587628"/>
              <a:gd name="connsiteX5" fmla="*/ 0 w 12192163"/>
              <a:gd name="connsiteY5" fmla="*/ 587628 h 587628"/>
              <a:gd name="connsiteX6" fmla="*/ 0 w 12192163"/>
              <a:gd name="connsiteY6" fmla="*/ 6288 h 587628"/>
              <a:gd name="connsiteX0" fmla="*/ 0 w 12192163"/>
              <a:gd name="connsiteY0" fmla="*/ 6288 h 587628"/>
              <a:gd name="connsiteX1" fmla="*/ 1406430 w 12192163"/>
              <a:gd name="connsiteY1" fmla="*/ 0 h 587628"/>
              <a:gd name="connsiteX2" fmla="*/ 3218752 w 12192163"/>
              <a:gd name="connsiteY2" fmla="*/ 327692 h 587628"/>
              <a:gd name="connsiteX3" fmla="*/ 12192163 w 12192163"/>
              <a:gd name="connsiteY3" fmla="*/ 333682 h 587628"/>
              <a:gd name="connsiteX4" fmla="*/ 12192000 w 12192163"/>
              <a:gd name="connsiteY4" fmla="*/ 587628 h 587628"/>
              <a:gd name="connsiteX5" fmla="*/ 0 w 12192163"/>
              <a:gd name="connsiteY5" fmla="*/ 587628 h 587628"/>
              <a:gd name="connsiteX6" fmla="*/ 0 w 12192163"/>
              <a:gd name="connsiteY6" fmla="*/ 6288 h 587628"/>
              <a:gd name="connsiteX0" fmla="*/ 0 w 12192163"/>
              <a:gd name="connsiteY0" fmla="*/ 9 h 933618"/>
              <a:gd name="connsiteX1" fmla="*/ 1406430 w 12192163"/>
              <a:gd name="connsiteY1" fmla="*/ 345990 h 933618"/>
              <a:gd name="connsiteX2" fmla="*/ 3218752 w 12192163"/>
              <a:gd name="connsiteY2" fmla="*/ 673682 h 933618"/>
              <a:gd name="connsiteX3" fmla="*/ 12192163 w 12192163"/>
              <a:gd name="connsiteY3" fmla="*/ 679672 h 933618"/>
              <a:gd name="connsiteX4" fmla="*/ 12192000 w 12192163"/>
              <a:gd name="connsiteY4" fmla="*/ 933618 h 933618"/>
              <a:gd name="connsiteX5" fmla="*/ 0 w 12192163"/>
              <a:gd name="connsiteY5" fmla="*/ 933618 h 933618"/>
              <a:gd name="connsiteX6" fmla="*/ 0 w 12192163"/>
              <a:gd name="connsiteY6" fmla="*/ 9 h 933618"/>
              <a:gd name="connsiteX0" fmla="*/ 0 w 12192163"/>
              <a:gd name="connsiteY0" fmla="*/ 0 h 933609"/>
              <a:gd name="connsiteX1" fmla="*/ 1383945 w 12192163"/>
              <a:gd name="connsiteY1" fmla="*/ 1207 h 933609"/>
              <a:gd name="connsiteX2" fmla="*/ 3218752 w 12192163"/>
              <a:gd name="connsiteY2" fmla="*/ 673673 h 933609"/>
              <a:gd name="connsiteX3" fmla="*/ 12192163 w 12192163"/>
              <a:gd name="connsiteY3" fmla="*/ 679663 h 933609"/>
              <a:gd name="connsiteX4" fmla="*/ 12192000 w 12192163"/>
              <a:gd name="connsiteY4" fmla="*/ 933609 h 933609"/>
              <a:gd name="connsiteX5" fmla="*/ 0 w 12192163"/>
              <a:gd name="connsiteY5" fmla="*/ 933609 h 933609"/>
              <a:gd name="connsiteX6" fmla="*/ 0 w 12192163"/>
              <a:gd name="connsiteY6" fmla="*/ 0 h 933609"/>
              <a:gd name="connsiteX0" fmla="*/ 0 w 12192163"/>
              <a:gd name="connsiteY0" fmla="*/ 0 h 933609"/>
              <a:gd name="connsiteX1" fmla="*/ 1383945 w 12192163"/>
              <a:gd name="connsiteY1" fmla="*/ 1207 h 933609"/>
              <a:gd name="connsiteX2" fmla="*/ 3143802 w 12192163"/>
              <a:gd name="connsiteY2" fmla="*/ 216473 h 933609"/>
              <a:gd name="connsiteX3" fmla="*/ 12192163 w 12192163"/>
              <a:gd name="connsiteY3" fmla="*/ 679663 h 933609"/>
              <a:gd name="connsiteX4" fmla="*/ 12192000 w 12192163"/>
              <a:gd name="connsiteY4" fmla="*/ 933609 h 933609"/>
              <a:gd name="connsiteX5" fmla="*/ 0 w 12192163"/>
              <a:gd name="connsiteY5" fmla="*/ 933609 h 933609"/>
              <a:gd name="connsiteX6" fmla="*/ 0 w 12192163"/>
              <a:gd name="connsiteY6" fmla="*/ 0 h 933609"/>
              <a:gd name="connsiteX0" fmla="*/ 0 w 12229638"/>
              <a:gd name="connsiteY0" fmla="*/ 0 h 933609"/>
              <a:gd name="connsiteX1" fmla="*/ 1383945 w 12229638"/>
              <a:gd name="connsiteY1" fmla="*/ 1207 h 933609"/>
              <a:gd name="connsiteX2" fmla="*/ 3143802 w 12229638"/>
              <a:gd name="connsiteY2" fmla="*/ 216473 h 933609"/>
              <a:gd name="connsiteX3" fmla="*/ 12229638 w 12229638"/>
              <a:gd name="connsiteY3" fmla="*/ 222463 h 933609"/>
              <a:gd name="connsiteX4" fmla="*/ 12192000 w 12229638"/>
              <a:gd name="connsiteY4" fmla="*/ 933609 h 933609"/>
              <a:gd name="connsiteX5" fmla="*/ 0 w 12229638"/>
              <a:gd name="connsiteY5" fmla="*/ 933609 h 933609"/>
              <a:gd name="connsiteX6" fmla="*/ 0 w 1222963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43802 w 12199658"/>
              <a:gd name="connsiteY2" fmla="*/ 216473 h 933609"/>
              <a:gd name="connsiteX3" fmla="*/ 12199658 w 12199658"/>
              <a:gd name="connsiteY3" fmla="*/ 19997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43802 w 12199658"/>
              <a:gd name="connsiteY2" fmla="*/ 216473 h 933609"/>
              <a:gd name="connsiteX3" fmla="*/ 12199658 w 12199658"/>
              <a:gd name="connsiteY3" fmla="*/ 19997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61101 w 12199658"/>
              <a:gd name="connsiteY2" fmla="*/ 293085 h 933609"/>
              <a:gd name="connsiteX3" fmla="*/ 12199658 w 12199658"/>
              <a:gd name="connsiteY3" fmla="*/ 19997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61101 w 12199658"/>
              <a:gd name="connsiteY2" fmla="*/ 293085 h 933609"/>
              <a:gd name="connsiteX3" fmla="*/ 12199658 w 12199658"/>
              <a:gd name="connsiteY3" fmla="*/ 29141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6531 w 12199658"/>
              <a:gd name="connsiteY0" fmla="*/ 730314 h 932403"/>
              <a:gd name="connsiteX1" fmla="*/ 1383945 w 12199658"/>
              <a:gd name="connsiteY1" fmla="*/ 1 h 932403"/>
              <a:gd name="connsiteX2" fmla="*/ 3161101 w 12199658"/>
              <a:gd name="connsiteY2" fmla="*/ 291879 h 932403"/>
              <a:gd name="connsiteX3" fmla="*/ 12199658 w 12199658"/>
              <a:gd name="connsiteY3" fmla="*/ 290212 h 932403"/>
              <a:gd name="connsiteX4" fmla="*/ 12192000 w 12199658"/>
              <a:gd name="connsiteY4" fmla="*/ 932403 h 932403"/>
              <a:gd name="connsiteX5" fmla="*/ 0 w 12199658"/>
              <a:gd name="connsiteY5" fmla="*/ 932403 h 932403"/>
              <a:gd name="connsiteX6" fmla="*/ 6531 w 12199658"/>
              <a:gd name="connsiteY6" fmla="*/ 730314 h 932403"/>
              <a:gd name="connsiteX0" fmla="*/ 6531 w 12199658"/>
              <a:gd name="connsiteY0" fmla="*/ 440102 h 642191"/>
              <a:gd name="connsiteX1" fmla="*/ 1377414 w 12199658"/>
              <a:gd name="connsiteY1" fmla="*/ 434777 h 642191"/>
              <a:gd name="connsiteX2" fmla="*/ 3161101 w 12199658"/>
              <a:gd name="connsiteY2" fmla="*/ 1667 h 642191"/>
              <a:gd name="connsiteX3" fmla="*/ 12199658 w 12199658"/>
              <a:gd name="connsiteY3" fmla="*/ 0 h 642191"/>
              <a:gd name="connsiteX4" fmla="*/ 12192000 w 12199658"/>
              <a:gd name="connsiteY4" fmla="*/ 642191 h 642191"/>
              <a:gd name="connsiteX5" fmla="*/ 0 w 12199658"/>
              <a:gd name="connsiteY5" fmla="*/ 642191 h 642191"/>
              <a:gd name="connsiteX6" fmla="*/ 6531 w 12199658"/>
              <a:gd name="connsiteY6" fmla="*/ 440102 h 642191"/>
              <a:gd name="connsiteX0" fmla="*/ 6531 w 12199658"/>
              <a:gd name="connsiteY0" fmla="*/ 440102 h 642191"/>
              <a:gd name="connsiteX1" fmla="*/ 1377414 w 12199658"/>
              <a:gd name="connsiteY1" fmla="*/ 434777 h 642191"/>
              <a:gd name="connsiteX2" fmla="*/ 3161101 w 12199658"/>
              <a:gd name="connsiteY2" fmla="*/ 1667 h 642191"/>
              <a:gd name="connsiteX3" fmla="*/ 12199658 w 12199658"/>
              <a:gd name="connsiteY3" fmla="*/ 0 h 642191"/>
              <a:gd name="connsiteX4" fmla="*/ 12192000 w 12199658"/>
              <a:gd name="connsiteY4" fmla="*/ 642191 h 642191"/>
              <a:gd name="connsiteX5" fmla="*/ 0 w 12199658"/>
              <a:gd name="connsiteY5" fmla="*/ 642191 h 642191"/>
              <a:gd name="connsiteX6" fmla="*/ 6531 w 12199658"/>
              <a:gd name="connsiteY6" fmla="*/ 440102 h 642191"/>
              <a:gd name="connsiteX0" fmla="*/ 6531 w 12199658"/>
              <a:gd name="connsiteY0" fmla="*/ 440102 h 642191"/>
              <a:gd name="connsiteX1" fmla="*/ 1377414 w 12199658"/>
              <a:gd name="connsiteY1" fmla="*/ 434777 h 642191"/>
              <a:gd name="connsiteX2" fmla="*/ 3161101 w 12199658"/>
              <a:gd name="connsiteY2" fmla="*/ 1667 h 642191"/>
              <a:gd name="connsiteX3" fmla="*/ 12199658 w 12199658"/>
              <a:gd name="connsiteY3" fmla="*/ 0 h 642191"/>
              <a:gd name="connsiteX4" fmla="*/ 12192000 w 12199658"/>
              <a:gd name="connsiteY4" fmla="*/ 642191 h 642191"/>
              <a:gd name="connsiteX5" fmla="*/ 0 w 12199658"/>
              <a:gd name="connsiteY5" fmla="*/ 642191 h 642191"/>
              <a:gd name="connsiteX6" fmla="*/ 6531 w 12199658"/>
              <a:gd name="connsiteY6" fmla="*/ 440102 h 642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9658" h="642191">
                <a:moveTo>
                  <a:pt x="6531" y="440102"/>
                </a:moveTo>
                <a:lnTo>
                  <a:pt x="1377414" y="434777"/>
                </a:lnTo>
                <a:cubicBezTo>
                  <a:pt x="2069852" y="451590"/>
                  <a:pt x="1724786" y="2153"/>
                  <a:pt x="3161101" y="1667"/>
                </a:cubicBezTo>
                <a:lnTo>
                  <a:pt x="12199658" y="0"/>
                </a:lnTo>
                <a:cubicBezTo>
                  <a:pt x="12199604" y="84649"/>
                  <a:pt x="12192054" y="557542"/>
                  <a:pt x="12192000" y="642191"/>
                </a:cubicBezTo>
                <a:lnTo>
                  <a:pt x="0" y="642191"/>
                </a:lnTo>
                <a:lnTo>
                  <a:pt x="6531" y="440102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" name="Forma Livre: Forma 27">
            <a:extLst>
              <a:ext uri="{FF2B5EF4-FFF2-40B4-BE49-F238E27FC236}">
                <a16:creationId xmlns:a16="http://schemas.microsoft.com/office/drawing/2014/main" id="{DE9B3F6B-2942-4808-A621-D6EB59F3371B}"/>
              </a:ext>
            </a:extLst>
          </p:cNvPr>
          <p:cNvSpPr/>
          <p:nvPr userDrawn="1"/>
        </p:nvSpPr>
        <p:spPr>
          <a:xfrm>
            <a:off x="0" y="6379648"/>
            <a:ext cx="12192162" cy="478353"/>
          </a:xfrm>
          <a:custGeom>
            <a:avLst/>
            <a:gdLst>
              <a:gd name="connsiteX0" fmla="*/ 0 w 12192162"/>
              <a:gd name="connsiteY0" fmla="*/ 0 h 478353"/>
              <a:gd name="connsiteX1" fmla="*/ 897812 w 12192162"/>
              <a:gd name="connsiteY1" fmla="*/ 1844 h 478353"/>
              <a:gd name="connsiteX2" fmla="*/ 1389496 w 12192162"/>
              <a:gd name="connsiteY2" fmla="*/ 3614 h 478353"/>
              <a:gd name="connsiteX3" fmla="*/ 3218751 w 12192162"/>
              <a:gd name="connsiteY3" fmla="*/ 218417 h 478353"/>
              <a:gd name="connsiteX4" fmla="*/ 12192162 w 12192162"/>
              <a:gd name="connsiteY4" fmla="*/ 224407 h 478353"/>
              <a:gd name="connsiteX5" fmla="*/ 12191999 w 12192162"/>
              <a:gd name="connsiteY5" fmla="*/ 478353 h 478353"/>
              <a:gd name="connsiteX6" fmla="*/ 0 w 12192162"/>
              <a:gd name="connsiteY6" fmla="*/ 478353 h 4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162" h="478353">
                <a:moveTo>
                  <a:pt x="0" y="0"/>
                </a:moveTo>
                <a:lnTo>
                  <a:pt x="897812" y="1844"/>
                </a:lnTo>
                <a:lnTo>
                  <a:pt x="1389496" y="3614"/>
                </a:lnTo>
                <a:cubicBezTo>
                  <a:pt x="2155312" y="11961"/>
                  <a:pt x="1782436" y="218903"/>
                  <a:pt x="3218751" y="218417"/>
                </a:cubicBezTo>
                <a:lnTo>
                  <a:pt x="12192162" y="224407"/>
                </a:lnTo>
                <a:cubicBezTo>
                  <a:pt x="12192108" y="309056"/>
                  <a:pt x="12192053" y="393704"/>
                  <a:pt x="12191999" y="478353"/>
                </a:cubicBezTo>
                <a:lnTo>
                  <a:pt x="0" y="47835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51FF91-3646-6C4B-A80E-8E1DE8C95C6B}"/>
              </a:ext>
            </a:extLst>
          </p:cNvPr>
          <p:cNvSpPr/>
          <p:nvPr userDrawn="1"/>
        </p:nvSpPr>
        <p:spPr>
          <a:xfrm>
            <a:off x="6096000" y="-13386"/>
            <a:ext cx="6095999" cy="6871386"/>
          </a:xfrm>
          <a:prstGeom prst="rect">
            <a:avLst/>
          </a:pr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canto superior">
            <a:extLst>
              <a:ext uri="{FF2B5EF4-FFF2-40B4-BE49-F238E27FC236}">
                <a16:creationId xmlns:a16="http://schemas.microsoft.com/office/drawing/2014/main" id="{A79BE830-D27E-2B45-ADD1-1BCBA107A258}"/>
              </a:ext>
            </a:extLst>
          </p:cNvPr>
          <p:cNvSpPr/>
          <p:nvPr userDrawn="1"/>
        </p:nvSpPr>
        <p:spPr>
          <a:xfrm>
            <a:off x="5465176" y="569263"/>
            <a:ext cx="630000" cy="630000"/>
          </a:xfrm>
          <a:custGeom>
            <a:avLst/>
            <a:gdLst>
              <a:gd name="connsiteX0" fmla="*/ 0 w 630000"/>
              <a:gd name="connsiteY0" fmla="*/ 0 h 630000"/>
              <a:gd name="connsiteX1" fmla="*/ 630000 w 630000"/>
              <a:gd name="connsiteY1" fmla="*/ 0 h 630000"/>
              <a:gd name="connsiteX2" fmla="*/ 630000 w 630000"/>
              <a:gd name="connsiteY2" fmla="*/ 630000 h 630000"/>
              <a:gd name="connsiteX3" fmla="*/ 0 w 630000"/>
              <a:gd name="connsiteY3" fmla="*/ 0 h 63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000" h="630000">
                <a:moveTo>
                  <a:pt x="0" y="0"/>
                </a:moveTo>
                <a:lnTo>
                  <a:pt x="630000" y="0"/>
                </a:lnTo>
                <a:lnTo>
                  <a:pt x="630000" y="630000"/>
                </a:lnTo>
                <a:cubicBezTo>
                  <a:pt x="630000" y="282061"/>
                  <a:pt x="347939" y="0"/>
                  <a:pt x="0" y="0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26" name="canto inferior">
            <a:extLst>
              <a:ext uri="{FF2B5EF4-FFF2-40B4-BE49-F238E27FC236}">
                <a16:creationId xmlns:a16="http://schemas.microsoft.com/office/drawing/2014/main" id="{946E562D-2BBB-A145-9951-A66B608A775A}"/>
              </a:ext>
            </a:extLst>
          </p:cNvPr>
          <p:cNvSpPr/>
          <p:nvPr userDrawn="1"/>
        </p:nvSpPr>
        <p:spPr>
          <a:xfrm>
            <a:off x="5465176" y="5980149"/>
            <a:ext cx="630000" cy="630000"/>
          </a:xfrm>
          <a:custGeom>
            <a:avLst/>
            <a:gdLst>
              <a:gd name="connsiteX0" fmla="*/ 630000 w 630000"/>
              <a:gd name="connsiteY0" fmla="*/ 0 h 630000"/>
              <a:gd name="connsiteX1" fmla="*/ 630000 w 630000"/>
              <a:gd name="connsiteY1" fmla="*/ 630000 h 630000"/>
              <a:gd name="connsiteX2" fmla="*/ 0 w 630000"/>
              <a:gd name="connsiteY2" fmla="*/ 630000 h 630000"/>
              <a:gd name="connsiteX3" fmla="*/ 630000 w 630000"/>
              <a:gd name="connsiteY3" fmla="*/ 0 h 63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000" h="630000">
                <a:moveTo>
                  <a:pt x="630000" y="0"/>
                </a:moveTo>
                <a:lnTo>
                  <a:pt x="630000" y="630000"/>
                </a:lnTo>
                <a:lnTo>
                  <a:pt x="0" y="630000"/>
                </a:lnTo>
                <a:cubicBezTo>
                  <a:pt x="347939" y="630000"/>
                  <a:pt x="630000" y="347939"/>
                  <a:pt x="630000" y="0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73" name="Retângulo 4">
            <a:extLst>
              <a:ext uri="{FF2B5EF4-FFF2-40B4-BE49-F238E27FC236}">
                <a16:creationId xmlns:a16="http://schemas.microsoft.com/office/drawing/2014/main" id="{4CA31EBD-D983-0D40-99CA-101EB48A6E6D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4" name="Retângulo 5">
            <a:extLst>
              <a:ext uri="{FF2B5EF4-FFF2-40B4-BE49-F238E27FC236}">
                <a16:creationId xmlns:a16="http://schemas.microsoft.com/office/drawing/2014/main" id="{29D49441-9231-A442-8561-2384BADE4378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5" name="Retângulo 6">
            <a:extLst>
              <a:ext uri="{FF2B5EF4-FFF2-40B4-BE49-F238E27FC236}">
                <a16:creationId xmlns:a16="http://schemas.microsoft.com/office/drawing/2014/main" id="{F7640527-FE94-5349-811E-A2E910A8136C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6" name="Retângulo 7">
            <a:extLst>
              <a:ext uri="{FF2B5EF4-FFF2-40B4-BE49-F238E27FC236}">
                <a16:creationId xmlns:a16="http://schemas.microsoft.com/office/drawing/2014/main" id="{3B638C98-8153-084F-BC91-FF9A132098AF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7" name="Retângulo 8">
            <a:extLst>
              <a:ext uri="{FF2B5EF4-FFF2-40B4-BE49-F238E27FC236}">
                <a16:creationId xmlns:a16="http://schemas.microsoft.com/office/drawing/2014/main" id="{6884A18B-D2C7-6240-8842-51A144CF341C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8" name="Retângulo 9">
            <a:extLst>
              <a:ext uri="{FF2B5EF4-FFF2-40B4-BE49-F238E27FC236}">
                <a16:creationId xmlns:a16="http://schemas.microsoft.com/office/drawing/2014/main" id="{24C46CAB-AC79-FB44-9FE5-10BE6CD36186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9" name="Retângulo 10">
            <a:extLst>
              <a:ext uri="{FF2B5EF4-FFF2-40B4-BE49-F238E27FC236}">
                <a16:creationId xmlns:a16="http://schemas.microsoft.com/office/drawing/2014/main" id="{A90F9425-5A51-3B4F-8146-65B58B0D7858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0" name="Retângulo 11">
            <a:extLst>
              <a:ext uri="{FF2B5EF4-FFF2-40B4-BE49-F238E27FC236}">
                <a16:creationId xmlns:a16="http://schemas.microsoft.com/office/drawing/2014/main" id="{206BCEC6-DDEC-3A4A-8632-AE5121D85535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1" name="Retângulo 12">
            <a:extLst>
              <a:ext uri="{FF2B5EF4-FFF2-40B4-BE49-F238E27FC236}">
                <a16:creationId xmlns:a16="http://schemas.microsoft.com/office/drawing/2014/main" id="{2D82E554-646B-AC40-92DB-034DC637D8B8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2" name="Retângulo 13">
            <a:extLst>
              <a:ext uri="{FF2B5EF4-FFF2-40B4-BE49-F238E27FC236}">
                <a16:creationId xmlns:a16="http://schemas.microsoft.com/office/drawing/2014/main" id="{4DC6A1B2-4201-9E4C-87B2-C5F15A8F3ED3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3" name="Retângulo 14">
            <a:extLst>
              <a:ext uri="{FF2B5EF4-FFF2-40B4-BE49-F238E27FC236}">
                <a16:creationId xmlns:a16="http://schemas.microsoft.com/office/drawing/2014/main" id="{724AB98E-4D47-B647-A7F8-0F4CB9AB3982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92" name="Espaço Reservado para Conteúdo 16">
            <a:extLst>
              <a:ext uri="{FF2B5EF4-FFF2-40B4-BE49-F238E27FC236}">
                <a16:creationId xmlns:a16="http://schemas.microsoft.com/office/drawing/2014/main" id="{4186F925-99FD-C54A-867C-50D403360B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5629" y="1426732"/>
            <a:ext cx="11689063" cy="4351338"/>
          </a:xfrm>
        </p:spPr>
        <p:txBody>
          <a:bodyPr/>
          <a:lstStyle/>
          <a:p>
            <a:pPr marL="0" indent="0">
              <a:buNone/>
            </a:pPr>
            <a:endParaRPr lang="pt-BR"/>
          </a:p>
        </p:txBody>
      </p:sp>
      <p:sp>
        <p:nvSpPr>
          <p:cNvPr id="93" name="Title 1">
            <a:extLst>
              <a:ext uri="{FF2B5EF4-FFF2-40B4-BE49-F238E27FC236}">
                <a16:creationId xmlns:a16="http://schemas.microsoft.com/office/drawing/2014/main" id="{07966D6B-69A4-EB4B-9D2F-7107E88CD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629" y="176400"/>
            <a:ext cx="10152959" cy="868013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endParaRPr lang="pt-BR"/>
          </a:p>
        </p:txBody>
      </p:sp>
      <p:pic>
        <p:nvPicPr>
          <p:cNvPr id="27" name="Picture 10">
            <a:extLst>
              <a:ext uri="{FF2B5EF4-FFF2-40B4-BE49-F238E27FC236}">
                <a16:creationId xmlns:a16="http://schemas.microsoft.com/office/drawing/2014/main" id="{CE931177-6CE7-4F4A-A5B3-E6006D17F6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rcRect/>
          <a:stretch/>
        </p:blipFill>
        <p:spPr bwMode="auto">
          <a:xfrm>
            <a:off x="11695841" y="6428255"/>
            <a:ext cx="360363" cy="360363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0" name="Agrupar 23">
            <a:extLst>
              <a:ext uri="{FF2B5EF4-FFF2-40B4-BE49-F238E27FC236}">
                <a16:creationId xmlns:a16="http://schemas.microsoft.com/office/drawing/2014/main" id="{CD3FB839-A054-4E24-A73A-82F226D55DB2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31" name="Freeform 25">
              <a:extLst>
                <a:ext uri="{FF2B5EF4-FFF2-40B4-BE49-F238E27FC236}">
                  <a16:creationId xmlns:a16="http://schemas.microsoft.com/office/drawing/2014/main" id="{0ADA3D6A-8FB3-4A5A-98E3-7AF4448B34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68F51837-6198-4F53-9C84-CC345F4C87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33" name="Oval 27">
              <a:extLst>
                <a:ext uri="{FF2B5EF4-FFF2-40B4-BE49-F238E27FC236}">
                  <a16:creationId xmlns:a16="http://schemas.microsoft.com/office/drawing/2014/main" id="{60BE0FBA-7679-49D6-ACF2-8D24C805C7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ECD00D7E-F093-4394-BC6A-FF03BEA49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9E562A12-1590-4DA0-AF1F-69DBD0B1CD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  <p:pic>
        <p:nvPicPr>
          <p:cNvPr id="36" name="Imagem 35" descr="Texto, Logotipo&#10;&#10;Descrição gerada automaticamente">
            <a:extLst>
              <a:ext uri="{FF2B5EF4-FFF2-40B4-BE49-F238E27FC236}">
                <a16:creationId xmlns:a16="http://schemas.microsoft.com/office/drawing/2014/main" id="{7C9A23A3-A7EB-4513-A4F5-5752FD9C4C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402" y="190048"/>
            <a:ext cx="1487783" cy="37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037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orma Livre: Forma 28">
            <a:extLst>
              <a:ext uri="{FF2B5EF4-FFF2-40B4-BE49-F238E27FC236}">
                <a16:creationId xmlns:a16="http://schemas.microsoft.com/office/drawing/2014/main" id="{736693FB-AC8D-4215-B9C1-994F7F62948A}"/>
              </a:ext>
            </a:extLst>
          </p:cNvPr>
          <p:cNvSpPr/>
          <p:nvPr userDrawn="1"/>
        </p:nvSpPr>
        <p:spPr>
          <a:xfrm>
            <a:off x="0" y="6379648"/>
            <a:ext cx="12192162" cy="478353"/>
          </a:xfrm>
          <a:custGeom>
            <a:avLst/>
            <a:gdLst>
              <a:gd name="connsiteX0" fmla="*/ 0 w 12192162"/>
              <a:gd name="connsiteY0" fmla="*/ 0 h 478353"/>
              <a:gd name="connsiteX1" fmla="*/ 897812 w 12192162"/>
              <a:gd name="connsiteY1" fmla="*/ 1844 h 478353"/>
              <a:gd name="connsiteX2" fmla="*/ 1389496 w 12192162"/>
              <a:gd name="connsiteY2" fmla="*/ 3614 h 478353"/>
              <a:gd name="connsiteX3" fmla="*/ 3218751 w 12192162"/>
              <a:gd name="connsiteY3" fmla="*/ 218417 h 478353"/>
              <a:gd name="connsiteX4" fmla="*/ 12192162 w 12192162"/>
              <a:gd name="connsiteY4" fmla="*/ 224407 h 478353"/>
              <a:gd name="connsiteX5" fmla="*/ 12191999 w 12192162"/>
              <a:gd name="connsiteY5" fmla="*/ 478353 h 478353"/>
              <a:gd name="connsiteX6" fmla="*/ 0 w 12192162"/>
              <a:gd name="connsiteY6" fmla="*/ 478353 h 4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162" h="478353">
                <a:moveTo>
                  <a:pt x="0" y="0"/>
                </a:moveTo>
                <a:lnTo>
                  <a:pt x="897812" y="1844"/>
                </a:lnTo>
                <a:lnTo>
                  <a:pt x="1389496" y="3614"/>
                </a:lnTo>
                <a:cubicBezTo>
                  <a:pt x="2155312" y="11961"/>
                  <a:pt x="1782436" y="218903"/>
                  <a:pt x="3218751" y="218417"/>
                </a:cubicBezTo>
                <a:lnTo>
                  <a:pt x="12192162" y="224407"/>
                </a:lnTo>
                <a:cubicBezTo>
                  <a:pt x="12192108" y="309056"/>
                  <a:pt x="12192053" y="393704"/>
                  <a:pt x="12191999" y="478353"/>
                </a:cubicBezTo>
                <a:lnTo>
                  <a:pt x="0" y="47835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27" name="Retângulo 3">
            <a:extLst>
              <a:ext uri="{FF2B5EF4-FFF2-40B4-BE49-F238E27FC236}">
                <a16:creationId xmlns:a16="http://schemas.microsoft.com/office/drawing/2014/main" id="{93D7FF04-387D-4B25-8349-CAFF78C5C9A1}"/>
              </a:ext>
            </a:extLst>
          </p:cNvPr>
          <p:cNvSpPr/>
          <p:nvPr userDrawn="1"/>
        </p:nvSpPr>
        <p:spPr>
          <a:xfrm flipH="1" flipV="1">
            <a:off x="1" y="-13387"/>
            <a:ext cx="12199658" cy="594299"/>
          </a:xfrm>
          <a:custGeom>
            <a:avLst/>
            <a:gdLst>
              <a:gd name="connsiteX0" fmla="*/ 0 w 12192000"/>
              <a:gd name="connsiteY0" fmla="*/ 0 h 581340"/>
              <a:gd name="connsiteX1" fmla="*/ 12192000 w 12192000"/>
              <a:gd name="connsiteY1" fmla="*/ 0 h 581340"/>
              <a:gd name="connsiteX2" fmla="*/ 12192000 w 12192000"/>
              <a:gd name="connsiteY2" fmla="*/ 581340 h 581340"/>
              <a:gd name="connsiteX3" fmla="*/ 0 w 12192000"/>
              <a:gd name="connsiteY3" fmla="*/ 581340 h 581340"/>
              <a:gd name="connsiteX4" fmla="*/ 0 w 12192000"/>
              <a:gd name="connsiteY4" fmla="*/ 0 h 581340"/>
              <a:gd name="connsiteX0" fmla="*/ 0 w 12192000"/>
              <a:gd name="connsiteY0" fmla="*/ 10771 h 592111"/>
              <a:gd name="connsiteX1" fmla="*/ 1971207 w 12192000"/>
              <a:gd name="connsiteY1" fmla="*/ 0 h 592111"/>
              <a:gd name="connsiteX2" fmla="*/ 12192000 w 12192000"/>
              <a:gd name="connsiteY2" fmla="*/ 10771 h 592111"/>
              <a:gd name="connsiteX3" fmla="*/ 12192000 w 12192000"/>
              <a:gd name="connsiteY3" fmla="*/ 592111 h 592111"/>
              <a:gd name="connsiteX4" fmla="*/ 0 w 12192000"/>
              <a:gd name="connsiteY4" fmla="*/ 592111 h 592111"/>
              <a:gd name="connsiteX5" fmla="*/ 0 w 12192000"/>
              <a:gd name="connsiteY5" fmla="*/ 10771 h 592111"/>
              <a:gd name="connsiteX0" fmla="*/ 0 w 12192000"/>
              <a:gd name="connsiteY0" fmla="*/ 18266 h 599606"/>
              <a:gd name="connsiteX1" fmla="*/ 1971207 w 12192000"/>
              <a:gd name="connsiteY1" fmla="*/ 7495 h 599606"/>
              <a:gd name="connsiteX2" fmla="*/ 3904938 w 12192000"/>
              <a:gd name="connsiteY2" fmla="*/ 0 h 599606"/>
              <a:gd name="connsiteX3" fmla="*/ 12192000 w 12192000"/>
              <a:gd name="connsiteY3" fmla="*/ 18266 h 599606"/>
              <a:gd name="connsiteX4" fmla="*/ 12192000 w 12192000"/>
              <a:gd name="connsiteY4" fmla="*/ 599606 h 599606"/>
              <a:gd name="connsiteX5" fmla="*/ 0 w 12192000"/>
              <a:gd name="connsiteY5" fmla="*/ 599606 h 599606"/>
              <a:gd name="connsiteX6" fmla="*/ 0 w 12192000"/>
              <a:gd name="connsiteY6" fmla="*/ 18266 h 599606"/>
              <a:gd name="connsiteX0" fmla="*/ 0 w 12206991"/>
              <a:gd name="connsiteY0" fmla="*/ 18266 h 599606"/>
              <a:gd name="connsiteX1" fmla="*/ 1971207 w 12206991"/>
              <a:gd name="connsiteY1" fmla="*/ 7495 h 599606"/>
              <a:gd name="connsiteX2" fmla="*/ 3904938 w 12206991"/>
              <a:gd name="connsiteY2" fmla="*/ 0 h 599606"/>
              <a:gd name="connsiteX3" fmla="*/ 12206991 w 12206991"/>
              <a:gd name="connsiteY3" fmla="*/ 355545 h 599606"/>
              <a:gd name="connsiteX4" fmla="*/ 12192000 w 12206991"/>
              <a:gd name="connsiteY4" fmla="*/ 599606 h 599606"/>
              <a:gd name="connsiteX5" fmla="*/ 0 w 12206991"/>
              <a:gd name="connsiteY5" fmla="*/ 599606 h 599606"/>
              <a:gd name="connsiteX6" fmla="*/ 0 w 12206991"/>
              <a:gd name="connsiteY6" fmla="*/ 18266 h 599606"/>
              <a:gd name="connsiteX0" fmla="*/ 0 w 12206991"/>
              <a:gd name="connsiteY0" fmla="*/ 10771 h 592111"/>
              <a:gd name="connsiteX1" fmla="*/ 1971207 w 12206991"/>
              <a:gd name="connsiteY1" fmla="*/ 0 h 592111"/>
              <a:gd name="connsiteX2" fmla="*/ 3927423 w 12206991"/>
              <a:gd name="connsiteY2" fmla="*/ 322289 h 592111"/>
              <a:gd name="connsiteX3" fmla="*/ 12206991 w 12206991"/>
              <a:gd name="connsiteY3" fmla="*/ 348050 h 592111"/>
              <a:gd name="connsiteX4" fmla="*/ 12192000 w 12206991"/>
              <a:gd name="connsiteY4" fmla="*/ 592111 h 592111"/>
              <a:gd name="connsiteX5" fmla="*/ 0 w 12206991"/>
              <a:gd name="connsiteY5" fmla="*/ 592111 h 592111"/>
              <a:gd name="connsiteX6" fmla="*/ 0 w 12206991"/>
              <a:gd name="connsiteY6" fmla="*/ 10771 h 592111"/>
              <a:gd name="connsiteX0" fmla="*/ 0 w 12206991"/>
              <a:gd name="connsiteY0" fmla="*/ 10771 h 592111"/>
              <a:gd name="connsiteX1" fmla="*/ 1971207 w 12206991"/>
              <a:gd name="connsiteY1" fmla="*/ 0 h 592111"/>
              <a:gd name="connsiteX2" fmla="*/ 3927423 w 12206991"/>
              <a:gd name="connsiteY2" fmla="*/ 322289 h 592111"/>
              <a:gd name="connsiteX3" fmla="*/ 12206991 w 12206991"/>
              <a:gd name="connsiteY3" fmla="*/ 348050 h 592111"/>
              <a:gd name="connsiteX4" fmla="*/ 12192000 w 12206991"/>
              <a:gd name="connsiteY4" fmla="*/ 592111 h 592111"/>
              <a:gd name="connsiteX5" fmla="*/ 0 w 12206991"/>
              <a:gd name="connsiteY5" fmla="*/ 592111 h 592111"/>
              <a:gd name="connsiteX6" fmla="*/ 0 w 12206991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7423 w 12192163"/>
              <a:gd name="connsiteY2" fmla="*/ 322289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6288 h 587628"/>
              <a:gd name="connsiteX1" fmla="*/ 1406430 w 12192163"/>
              <a:gd name="connsiteY1" fmla="*/ 0 h 587628"/>
              <a:gd name="connsiteX2" fmla="*/ 3922481 w 12192163"/>
              <a:gd name="connsiteY2" fmla="*/ 327692 h 587628"/>
              <a:gd name="connsiteX3" fmla="*/ 12192163 w 12192163"/>
              <a:gd name="connsiteY3" fmla="*/ 333682 h 587628"/>
              <a:gd name="connsiteX4" fmla="*/ 12192000 w 12192163"/>
              <a:gd name="connsiteY4" fmla="*/ 587628 h 587628"/>
              <a:gd name="connsiteX5" fmla="*/ 0 w 12192163"/>
              <a:gd name="connsiteY5" fmla="*/ 587628 h 587628"/>
              <a:gd name="connsiteX6" fmla="*/ 0 w 12192163"/>
              <a:gd name="connsiteY6" fmla="*/ 6288 h 587628"/>
              <a:gd name="connsiteX0" fmla="*/ 0 w 12192163"/>
              <a:gd name="connsiteY0" fmla="*/ 6288 h 587628"/>
              <a:gd name="connsiteX1" fmla="*/ 1406430 w 12192163"/>
              <a:gd name="connsiteY1" fmla="*/ 0 h 587628"/>
              <a:gd name="connsiteX2" fmla="*/ 3218752 w 12192163"/>
              <a:gd name="connsiteY2" fmla="*/ 327692 h 587628"/>
              <a:gd name="connsiteX3" fmla="*/ 12192163 w 12192163"/>
              <a:gd name="connsiteY3" fmla="*/ 333682 h 587628"/>
              <a:gd name="connsiteX4" fmla="*/ 12192000 w 12192163"/>
              <a:gd name="connsiteY4" fmla="*/ 587628 h 587628"/>
              <a:gd name="connsiteX5" fmla="*/ 0 w 12192163"/>
              <a:gd name="connsiteY5" fmla="*/ 587628 h 587628"/>
              <a:gd name="connsiteX6" fmla="*/ 0 w 12192163"/>
              <a:gd name="connsiteY6" fmla="*/ 6288 h 587628"/>
              <a:gd name="connsiteX0" fmla="*/ 0 w 12192163"/>
              <a:gd name="connsiteY0" fmla="*/ 9 h 933618"/>
              <a:gd name="connsiteX1" fmla="*/ 1406430 w 12192163"/>
              <a:gd name="connsiteY1" fmla="*/ 345990 h 933618"/>
              <a:gd name="connsiteX2" fmla="*/ 3218752 w 12192163"/>
              <a:gd name="connsiteY2" fmla="*/ 673682 h 933618"/>
              <a:gd name="connsiteX3" fmla="*/ 12192163 w 12192163"/>
              <a:gd name="connsiteY3" fmla="*/ 679672 h 933618"/>
              <a:gd name="connsiteX4" fmla="*/ 12192000 w 12192163"/>
              <a:gd name="connsiteY4" fmla="*/ 933618 h 933618"/>
              <a:gd name="connsiteX5" fmla="*/ 0 w 12192163"/>
              <a:gd name="connsiteY5" fmla="*/ 933618 h 933618"/>
              <a:gd name="connsiteX6" fmla="*/ 0 w 12192163"/>
              <a:gd name="connsiteY6" fmla="*/ 9 h 933618"/>
              <a:gd name="connsiteX0" fmla="*/ 0 w 12192163"/>
              <a:gd name="connsiteY0" fmla="*/ 0 h 933609"/>
              <a:gd name="connsiteX1" fmla="*/ 1383945 w 12192163"/>
              <a:gd name="connsiteY1" fmla="*/ 1207 h 933609"/>
              <a:gd name="connsiteX2" fmla="*/ 3218752 w 12192163"/>
              <a:gd name="connsiteY2" fmla="*/ 673673 h 933609"/>
              <a:gd name="connsiteX3" fmla="*/ 12192163 w 12192163"/>
              <a:gd name="connsiteY3" fmla="*/ 679663 h 933609"/>
              <a:gd name="connsiteX4" fmla="*/ 12192000 w 12192163"/>
              <a:gd name="connsiteY4" fmla="*/ 933609 h 933609"/>
              <a:gd name="connsiteX5" fmla="*/ 0 w 12192163"/>
              <a:gd name="connsiteY5" fmla="*/ 933609 h 933609"/>
              <a:gd name="connsiteX6" fmla="*/ 0 w 12192163"/>
              <a:gd name="connsiteY6" fmla="*/ 0 h 933609"/>
              <a:gd name="connsiteX0" fmla="*/ 0 w 12192163"/>
              <a:gd name="connsiteY0" fmla="*/ 0 h 933609"/>
              <a:gd name="connsiteX1" fmla="*/ 1383945 w 12192163"/>
              <a:gd name="connsiteY1" fmla="*/ 1207 h 933609"/>
              <a:gd name="connsiteX2" fmla="*/ 3143802 w 12192163"/>
              <a:gd name="connsiteY2" fmla="*/ 216473 h 933609"/>
              <a:gd name="connsiteX3" fmla="*/ 12192163 w 12192163"/>
              <a:gd name="connsiteY3" fmla="*/ 679663 h 933609"/>
              <a:gd name="connsiteX4" fmla="*/ 12192000 w 12192163"/>
              <a:gd name="connsiteY4" fmla="*/ 933609 h 933609"/>
              <a:gd name="connsiteX5" fmla="*/ 0 w 12192163"/>
              <a:gd name="connsiteY5" fmla="*/ 933609 h 933609"/>
              <a:gd name="connsiteX6" fmla="*/ 0 w 12192163"/>
              <a:gd name="connsiteY6" fmla="*/ 0 h 933609"/>
              <a:gd name="connsiteX0" fmla="*/ 0 w 12229638"/>
              <a:gd name="connsiteY0" fmla="*/ 0 h 933609"/>
              <a:gd name="connsiteX1" fmla="*/ 1383945 w 12229638"/>
              <a:gd name="connsiteY1" fmla="*/ 1207 h 933609"/>
              <a:gd name="connsiteX2" fmla="*/ 3143802 w 12229638"/>
              <a:gd name="connsiteY2" fmla="*/ 216473 h 933609"/>
              <a:gd name="connsiteX3" fmla="*/ 12229638 w 12229638"/>
              <a:gd name="connsiteY3" fmla="*/ 222463 h 933609"/>
              <a:gd name="connsiteX4" fmla="*/ 12192000 w 12229638"/>
              <a:gd name="connsiteY4" fmla="*/ 933609 h 933609"/>
              <a:gd name="connsiteX5" fmla="*/ 0 w 12229638"/>
              <a:gd name="connsiteY5" fmla="*/ 933609 h 933609"/>
              <a:gd name="connsiteX6" fmla="*/ 0 w 1222963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43802 w 12199658"/>
              <a:gd name="connsiteY2" fmla="*/ 216473 h 933609"/>
              <a:gd name="connsiteX3" fmla="*/ 12199658 w 12199658"/>
              <a:gd name="connsiteY3" fmla="*/ 19997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43802 w 12199658"/>
              <a:gd name="connsiteY2" fmla="*/ 216473 h 933609"/>
              <a:gd name="connsiteX3" fmla="*/ 12199658 w 12199658"/>
              <a:gd name="connsiteY3" fmla="*/ 19997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61101 w 12199658"/>
              <a:gd name="connsiteY2" fmla="*/ 293085 h 933609"/>
              <a:gd name="connsiteX3" fmla="*/ 12199658 w 12199658"/>
              <a:gd name="connsiteY3" fmla="*/ 19997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61101 w 12199658"/>
              <a:gd name="connsiteY2" fmla="*/ 293085 h 933609"/>
              <a:gd name="connsiteX3" fmla="*/ 12199658 w 12199658"/>
              <a:gd name="connsiteY3" fmla="*/ 29141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6531 w 12199658"/>
              <a:gd name="connsiteY0" fmla="*/ 730314 h 932403"/>
              <a:gd name="connsiteX1" fmla="*/ 1383945 w 12199658"/>
              <a:gd name="connsiteY1" fmla="*/ 1 h 932403"/>
              <a:gd name="connsiteX2" fmla="*/ 3161101 w 12199658"/>
              <a:gd name="connsiteY2" fmla="*/ 291879 h 932403"/>
              <a:gd name="connsiteX3" fmla="*/ 12199658 w 12199658"/>
              <a:gd name="connsiteY3" fmla="*/ 290212 h 932403"/>
              <a:gd name="connsiteX4" fmla="*/ 12192000 w 12199658"/>
              <a:gd name="connsiteY4" fmla="*/ 932403 h 932403"/>
              <a:gd name="connsiteX5" fmla="*/ 0 w 12199658"/>
              <a:gd name="connsiteY5" fmla="*/ 932403 h 932403"/>
              <a:gd name="connsiteX6" fmla="*/ 6531 w 12199658"/>
              <a:gd name="connsiteY6" fmla="*/ 730314 h 932403"/>
              <a:gd name="connsiteX0" fmla="*/ 6531 w 12199658"/>
              <a:gd name="connsiteY0" fmla="*/ 440102 h 642191"/>
              <a:gd name="connsiteX1" fmla="*/ 1377414 w 12199658"/>
              <a:gd name="connsiteY1" fmla="*/ 434777 h 642191"/>
              <a:gd name="connsiteX2" fmla="*/ 3161101 w 12199658"/>
              <a:gd name="connsiteY2" fmla="*/ 1667 h 642191"/>
              <a:gd name="connsiteX3" fmla="*/ 12199658 w 12199658"/>
              <a:gd name="connsiteY3" fmla="*/ 0 h 642191"/>
              <a:gd name="connsiteX4" fmla="*/ 12192000 w 12199658"/>
              <a:gd name="connsiteY4" fmla="*/ 642191 h 642191"/>
              <a:gd name="connsiteX5" fmla="*/ 0 w 12199658"/>
              <a:gd name="connsiteY5" fmla="*/ 642191 h 642191"/>
              <a:gd name="connsiteX6" fmla="*/ 6531 w 12199658"/>
              <a:gd name="connsiteY6" fmla="*/ 440102 h 642191"/>
              <a:gd name="connsiteX0" fmla="*/ 6531 w 12199658"/>
              <a:gd name="connsiteY0" fmla="*/ 440102 h 642191"/>
              <a:gd name="connsiteX1" fmla="*/ 1377414 w 12199658"/>
              <a:gd name="connsiteY1" fmla="*/ 434777 h 642191"/>
              <a:gd name="connsiteX2" fmla="*/ 3161101 w 12199658"/>
              <a:gd name="connsiteY2" fmla="*/ 1667 h 642191"/>
              <a:gd name="connsiteX3" fmla="*/ 12199658 w 12199658"/>
              <a:gd name="connsiteY3" fmla="*/ 0 h 642191"/>
              <a:gd name="connsiteX4" fmla="*/ 12192000 w 12199658"/>
              <a:gd name="connsiteY4" fmla="*/ 642191 h 642191"/>
              <a:gd name="connsiteX5" fmla="*/ 0 w 12199658"/>
              <a:gd name="connsiteY5" fmla="*/ 642191 h 642191"/>
              <a:gd name="connsiteX6" fmla="*/ 6531 w 12199658"/>
              <a:gd name="connsiteY6" fmla="*/ 440102 h 642191"/>
              <a:gd name="connsiteX0" fmla="*/ 6531 w 12199658"/>
              <a:gd name="connsiteY0" fmla="*/ 440102 h 642191"/>
              <a:gd name="connsiteX1" fmla="*/ 1377414 w 12199658"/>
              <a:gd name="connsiteY1" fmla="*/ 434777 h 642191"/>
              <a:gd name="connsiteX2" fmla="*/ 3161101 w 12199658"/>
              <a:gd name="connsiteY2" fmla="*/ 1667 h 642191"/>
              <a:gd name="connsiteX3" fmla="*/ 12199658 w 12199658"/>
              <a:gd name="connsiteY3" fmla="*/ 0 h 642191"/>
              <a:gd name="connsiteX4" fmla="*/ 12192000 w 12199658"/>
              <a:gd name="connsiteY4" fmla="*/ 642191 h 642191"/>
              <a:gd name="connsiteX5" fmla="*/ 0 w 12199658"/>
              <a:gd name="connsiteY5" fmla="*/ 642191 h 642191"/>
              <a:gd name="connsiteX6" fmla="*/ 6531 w 12199658"/>
              <a:gd name="connsiteY6" fmla="*/ 440102 h 642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9658" h="642191">
                <a:moveTo>
                  <a:pt x="6531" y="440102"/>
                </a:moveTo>
                <a:lnTo>
                  <a:pt x="1377414" y="434777"/>
                </a:lnTo>
                <a:cubicBezTo>
                  <a:pt x="2069852" y="451590"/>
                  <a:pt x="1724786" y="2153"/>
                  <a:pt x="3161101" y="1667"/>
                </a:cubicBezTo>
                <a:lnTo>
                  <a:pt x="12199658" y="0"/>
                </a:lnTo>
                <a:cubicBezTo>
                  <a:pt x="12199604" y="84649"/>
                  <a:pt x="12192054" y="557542"/>
                  <a:pt x="12192000" y="642191"/>
                </a:cubicBezTo>
                <a:lnTo>
                  <a:pt x="0" y="642191"/>
                </a:lnTo>
                <a:lnTo>
                  <a:pt x="6531" y="440102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canto superior">
            <a:extLst>
              <a:ext uri="{FF2B5EF4-FFF2-40B4-BE49-F238E27FC236}">
                <a16:creationId xmlns:a16="http://schemas.microsoft.com/office/drawing/2014/main" id="{BC640330-0DC1-1844-910A-3F688F01E0E9}"/>
              </a:ext>
            </a:extLst>
          </p:cNvPr>
          <p:cNvSpPr/>
          <p:nvPr userDrawn="1"/>
        </p:nvSpPr>
        <p:spPr>
          <a:xfrm>
            <a:off x="8565883" y="569263"/>
            <a:ext cx="630000" cy="630000"/>
          </a:xfrm>
          <a:custGeom>
            <a:avLst/>
            <a:gdLst>
              <a:gd name="connsiteX0" fmla="*/ 0 w 630000"/>
              <a:gd name="connsiteY0" fmla="*/ 0 h 630000"/>
              <a:gd name="connsiteX1" fmla="*/ 630000 w 630000"/>
              <a:gd name="connsiteY1" fmla="*/ 0 h 630000"/>
              <a:gd name="connsiteX2" fmla="*/ 630000 w 630000"/>
              <a:gd name="connsiteY2" fmla="*/ 630000 h 630000"/>
              <a:gd name="connsiteX3" fmla="*/ 0 w 630000"/>
              <a:gd name="connsiteY3" fmla="*/ 0 h 63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000" h="630000">
                <a:moveTo>
                  <a:pt x="0" y="0"/>
                </a:moveTo>
                <a:lnTo>
                  <a:pt x="630000" y="0"/>
                </a:lnTo>
                <a:lnTo>
                  <a:pt x="630000" y="630000"/>
                </a:lnTo>
                <a:cubicBezTo>
                  <a:pt x="630000" y="282061"/>
                  <a:pt x="347939" y="0"/>
                  <a:pt x="0" y="0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25" name="canto inferior">
            <a:extLst>
              <a:ext uri="{FF2B5EF4-FFF2-40B4-BE49-F238E27FC236}">
                <a16:creationId xmlns:a16="http://schemas.microsoft.com/office/drawing/2014/main" id="{15AA1AFA-9F3F-1C46-8F3C-8B050B48B11A}"/>
              </a:ext>
            </a:extLst>
          </p:cNvPr>
          <p:cNvSpPr/>
          <p:nvPr userDrawn="1"/>
        </p:nvSpPr>
        <p:spPr>
          <a:xfrm>
            <a:off x="8565883" y="5980149"/>
            <a:ext cx="630000" cy="630000"/>
          </a:xfrm>
          <a:custGeom>
            <a:avLst/>
            <a:gdLst>
              <a:gd name="connsiteX0" fmla="*/ 630000 w 630000"/>
              <a:gd name="connsiteY0" fmla="*/ 0 h 630000"/>
              <a:gd name="connsiteX1" fmla="*/ 630000 w 630000"/>
              <a:gd name="connsiteY1" fmla="*/ 630000 h 630000"/>
              <a:gd name="connsiteX2" fmla="*/ 0 w 630000"/>
              <a:gd name="connsiteY2" fmla="*/ 630000 h 630000"/>
              <a:gd name="connsiteX3" fmla="*/ 630000 w 630000"/>
              <a:gd name="connsiteY3" fmla="*/ 0 h 63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000" h="630000">
                <a:moveTo>
                  <a:pt x="630000" y="0"/>
                </a:moveTo>
                <a:lnTo>
                  <a:pt x="630000" y="630000"/>
                </a:lnTo>
                <a:lnTo>
                  <a:pt x="0" y="630000"/>
                </a:lnTo>
                <a:cubicBezTo>
                  <a:pt x="347939" y="630000"/>
                  <a:pt x="630000" y="347939"/>
                  <a:pt x="630000" y="0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2667D75-5559-884F-B648-F7E41AF1483B}"/>
              </a:ext>
            </a:extLst>
          </p:cNvPr>
          <p:cNvSpPr/>
          <p:nvPr userDrawn="1"/>
        </p:nvSpPr>
        <p:spPr>
          <a:xfrm>
            <a:off x="9195883" y="0"/>
            <a:ext cx="3030489" cy="6858000"/>
          </a:xfrm>
          <a:prstGeom prst="rect">
            <a:avLst/>
          </a:pr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3" name="Retângulo 4">
            <a:extLst>
              <a:ext uri="{FF2B5EF4-FFF2-40B4-BE49-F238E27FC236}">
                <a16:creationId xmlns:a16="http://schemas.microsoft.com/office/drawing/2014/main" id="{4CA31EBD-D983-0D40-99CA-101EB48A6E6D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4" name="Retângulo 5">
            <a:extLst>
              <a:ext uri="{FF2B5EF4-FFF2-40B4-BE49-F238E27FC236}">
                <a16:creationId xmlns:a16="http://schemas.microsoft.com/office/drawing/2014/main" id="{29D49441-9231-A442-8561-2384BADE4378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5" name="Retângulo 6">
            <a:extLst>
              <a:ext uri="{FF2B5EF4-FFF2-40B4-BE49-F238E27FC236}">
                <a16:creationId xmlns:a16="http://schemas.microsoft.com/office/drawing/2014/main" id="{F7640527-FE94-5349-811E-A2E910A8136C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6" name="Retângulo 7">
            <a:extLst>
              <a:ext uri="{FF2B5EF4-FFF2-40B4-BE49-F238E27FC236}">
                <a16:creationId xmlns:a16="http://schemas.microsoft.com/office/drawing/2014/main" id="{3B638C98-8153-084F-BC91-FF9A132098AF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7" name="Retângulo 8">
            <a:extLst>
              <a:ext uri="{FF2B5EF4-FFF2-40B4-BE49-F238E27FC236}">
                <a16:creationId xmlns:a16="http://schemas.microsoft.com/office/drawing/2014/main" id="{6884A18B-D2C7-6240-8842-51A144CF341C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8" name="Retângulo 9">
            <a:extLst>
              <a:ext uri="{FF2B5EF4-FFF2-40B4-BE49-F238E27FC236}">
                <a16:creationId xmlns:a16="http://schemas.microsoft.com/office/drawing/2014/main" id="{24C46CAB-AC79-FB44-9FE5-10BE6CD36186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9" name="Retângulo 10">
            <a:extLst>
              <a:ext uri="{FF2B5EF4-FFF2-40B4-BE49-F238E27FC236}">
                <a16:creationId xmlns:a16="http://schemas.microsoft.com/office/drawing/2014/main" id="{A90F9425-5A51-3B4F-8146-65B58B0D7858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0" name="Retângulo 11">
            <a:extLst>
              <a:ext uri="{FF2B5EF4-FFF2-40B4-BE49-F238E27FC236}">
                <a16:creationId xmlns:a16="http://schemas.microsoft.com/office/drawing/2014/main" id="{206BCEC6-DDEC-3A4A-8632-AE5121D85535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1" name="Retângulo 12">
            <a:extLst>
              <a:ext uri="{FF2B5EF4-FFF2-40B4-BE49-F238E27FC236}">
                <a16:creationId xmlns:a16="http://schemas.microsoft.com/office/drawing/2014/main" id="{2D82E554-646B-AC40-92DB-034DC637D8B8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2" name="Retângulo 13">
            <a:extLst>
              <a:ext uri="{FF2B5EF4-FFF2-40B4-BE49-F238E27FC236}">
                <a16:creationId xmlns:a16="http://schemas.microsoft.com/office/drawing/2014/main" id="{4DC6A1B2-4201-9E4C-87B2-C5F15A8F3ED3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3" name="Retângulo 14">
            <a:extLst>
              <a:ext uri="{FF2B5EF4-FFF2-40B4-BE49-F238E27FC236}">
                <a16:creationId xmlns:a16="http://schemas.microsoft.com/office/drawing/2014/main" id="{724AB98E-4D47-B647-A7F8-0F4CB9AB3982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92" name="Espaço Reservado para Conteúdo 16">
            <a:extLst>
              <a:ext uri="{FF2B5EF4-FFF2-40B4-BE49-F238E27FC236}">
                <a16:creationId xmlns:a16="http://schemas.microsoft.com/office/drawing/2014/main" id="{4186F925-99FD-C54A-867C-50D403360B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5629" y="1426732"/>
            <a:ext cx="11689063" cy="4351338"/>
          </a:xfrm>
        </p:spPr>
        <p:txBody>
          <a:bodyPr/>
          <a:lstStyle/>
          <a:p>
            <a:pPr marL="0" indent="0">
              <a:buNone/>
            </a:pPr>
            <a:endParaRPr lang="pt-BR"/>
          </a:p>
        </p:txBody>
      </p:sp>
      <p:sp>
        <p:nvSpPr>
          <p:cNvPr id="93" name="Title 1">
            <a:extLst>
              <a:ext uri="{FF2B5EF4-FFF2-40B4-BE49-F238E27FC236}">
                <a16:creationId xmlns:a16="http://schemas.microsoft.com/office/drawing/2014/main" id="{07966D6B-69A4-EB4B-9D2F-7107E88CD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629" y="176400"/>
            <a:ext cx="10152959" cy="868013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endParaRPr lang="pt-BR"/>
          </a:p>
        </p:txBody>
      </p:sp>
      <p:pic>
        <p:nvPicPr>
          <p:cNvPr id="28" name="Picture 10">
            <a:extLst>
              <a:ext uri="{FF2B5EF4-FFF2-40B4-BE49-F238E27FC236}">
                <a16:creationId xmlns:a16="http://schemas.microsoft.com/office/drawing/2014/main" id="{2011CF62-57DC-41C1-976B-7D8AC9E380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rcRect/>
          <a:stretch/>
        </p:blipFill>
        <p:spPr bwMode="auto">
          <a:xfrm>
            <a:off x="11695841" y="6428255"/>
            <a:ext cx="360363" cy="360363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0" name="Agrupar 23">
            <a:extLst>
              <a:ext uri="{FF2B5EF4-FFF2-40B4-BE49-F238E27FC236}">
                <a16:creationId xmlns:a16="http://schemas.microsoft.com/office/drawing/2014/main" id="{8C5F7317-392E-486E-8DA5-9CDF37E11FFD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31" name="Freeform 25">
              <a:extLst>
                <a:ext uri="{FF2B5EF4-FFF2-40B4-BE49-F238E27FC236}">
                  <a16:creationId xmlns:a16="http://schemas.microsoft.com/office/drawing/2014/main" id="{6308B6A5-8482-4990-A34F-86424F0B90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ED8CBFEC-4B25-430A-B078-CD83475CA2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33" name="Oval 27">
              <a:extLst>
                <a:ext uri="{FF2B5EF4-FFF2-40B4-BE49-F238E27FC236}">
                  <a16:creationId xmlns:a16="http://schemas.microsoft.com/office/drawing/2014/main" id="{A9EC349C-B1A3-4A35-99F7-D16FE2FF8E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C7BC2217-DF15-4BCF-9EAF-E1AA3D05B8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9A825176-F385-4941-8BD4-F6BE46A8FF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  <p:pic>
        <p:nvPicPr>
          <p:cNvPr id="36" name="Imagem 35" descr="Texto, Logotipo&#10;&#10;Descrição gerada automaticamente">
            <a:extLst>
              <a:ext uri="{FF2B5EF4-FFF2-40B4-BE49-F238E27FC236}">
                <a16:creationId xmlns:a16="http://schemas.microsoft.com/office/drawing/2014/main" id="{3171DDBF-C2B2-4297-AD98-AFEFB3B45F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402" y="190048"/>
            <a:ext cx="1487783" cy="37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0428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a Livre: Forma 27">
            <a:extLst>
              <a:ext uri="{FF2B5EF4-FFF2-40B4-BE49-F238E27FC236}">
                <a16:creationId xmlns:a16="http://schemas.microsoft.com/office/drawing/2014/main" id="{F9FF8815-0DFD-4E5B-B675-8D8C01090C8B}"/>
              </a:ext>
            </a:extLst>
          </p:cNvPr>
          <p:cNvSpPr/>
          <p:nvPr userDrawn="1"/>
        </p:nvSpPr>
        <p:spPr>
          <a:xfrm>
            <a:off x="0" y="6379648"/>
            <a:ext cx="12192162" cy="478353"/>
          </a:xfrm>
          <a:custGeom>
            <a:avLst/>
            <a:gdLst>
              <a:gd name="connsiteX0" fmla="*/ 0 w 12192162"/>
              <a:gd name="connsiteY0" fmla="*/ 0 h 478353"/>
              <a:gd name="connsiteX1" fmla="*/ 897812 w 12192162"/>
              <a:gd name="connsiteY1" fmla="*/ 1844 h 478353"/>
              <a:gd name="connsiteX2" fmla="*/ 1389496 w 12192162"/>
              <a:gd name="connsiteY2" fmla="*/ 3614 h 478353"/>
              <a:gd name="connsiteX3" fmla="*/ 3218751 w 12192162"/>
              <a:gd name="connsiteY3" fmla="*/ 218417 h 478353"/>
              <a:gd name="connsiteX4" fmla="*/ 12192162 w 12192162"/>
              <a:gd name="connsiteY4" fmla="*/ 224407 h 478353"/>
              <a:gd name="connsiteX5" fmla="*/ 12191999 w 12192162"/>
              <a:gd name="connsiteY5" fmla="*/ 478353 h 478353"/>
              <a:gd name="connsiteX6" fmla="*/ 0 w 12192162"/>
              <a:gd name="connsiteY6" fmla="*/ 478353 h 4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162" h="478353">
                <a:moveTo>
                  <a:pt x="0" y="0"/>
                </a:moveTo>
                <a:lnTo>
                  <a:pt x="897812" y="1844"/>
                </a:lnTo>
                <a:lnTo>
                  <a:pt x="1389496" y="3614"/>
                </a:lnTo>
                <a:cubicBezTo>
                  <a:pt x="2155312" y="11961"/>
                  <a:pt x="1782436" y="218903"/>
                  <a:pt x="3218751" y="218417"/>
                </a:cubicBezTo>
                <a:lnTo>
                  <a:pt x="12192162" y="224407"/>
                </a:lnTo>
                <a:cubicBezTo>
                  <a:pt x="12192108" y="309056"/>
                  <a:pt x="12192053" y="393704"/>
                  <a:pt x="12191999" y="478353"/>
                </a:cubicBezTo>
                <a:lnTo>
                  <a:pt x="0" y="47835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24" name="canto inferior">
            <a:extLst>
              <a:ext uri="{FF2B5EF4-FFF2-40B4-BE49-F238E27FC236}">
                <a16:creationId xmlns:a16="http://schemas.microsoft.com/office/drawing/2014/main" id="{E2BD5EBF-1253-724B-B289-B7AB846908CE}"/>
              </a:ext>
            </a:extLst>
          </p:cNvPr>
          <p:cNvSpPr/>
          <p:nvPr userDrawn="1"/>
        </p:nvSpPr>
        <p:spPr>
          <a:xfrm>
            <a:off x="8565883" y="5980149"/>
            <a:ext cx="630000" cy="630000"/>
          </a:xfrm>
          <a:custGeom>
            <a:avLst/>
            <a:gdLst>
              <a:gd name="connsiteX0" fmla="*/ 630000 w 630000"/>
              <a:gd name="connsiteY0" fmla="*/ 0 h 630000"/>
              <a:gd name="connsiteX1" fmla="*/ 630000 w 630000"/>
              <a:gd name="connsiteY1" fmla="*/ 630000 h 630000"/>
              <a:gd name="connsiteX2" fmla="*/ 0 w 630000"/>
              <a:gd name="connsiteY2" fmla="*/ 630000 h 630000"/>
              <a:gd name="connsiteX3" fmla="*/ 630000 w 630000"/>
              <a:gd name="connsiteY3" fmla="*/ 0 h 63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000" h="630000">
                <a:moveTo>
                  <a:pt x="630000" y="0"/>
                </a:moveTo>
                <a:lnTo>
                  <a:pt x="630000" y="630000"/>
                </a:lnTo>
                <a:lnTo>
                  <a:pt x="0" y="630000"/>
                </a:lnTo>
                <a:cubicBezTo>
                  <a:pt x="347939" y="630000"/>
                  <a:pt x="630000" y="347939"/>
                  <a:pt x="630000" y="0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17780702-C770-564F-8070-E83F9C6E5919}"/>
              </a:ext>
            </a:extLst>
          </p:cNvPr>
          <p:cNvSpPr/>
          <p:nvPr userDrawn="1"/>
        </p:nvSpPr>
        <p:spPr>
          <a:xfrm>
            <a:off x="9195883" y="3429000"/>
            <a:ext cx="3030489" cy="3429000"/>
          </a:xfrm>
          <a:custGeom>
            <a:avLst/>
            <a:gdLst>
              <a:gd name="connsiteX0" fmla="*/ 630000 w 3030489"/>
              <a:gd name="connsiteY0" fmla="*/ 0 h 3429000"/>
              <a:gd name="connsiteX1" fmla="*/ 3030489 w 3030489"/>
              <a:gd name="connsiteY1" fmla="*/ 0 h 3429000"/>
              <a:gd name="connsiteX2" fmla="*/ 3030489 w 3030489"/>
              <a:gd name="connsiteY2" fmla="*/ 3429000 h 3429000"/>
              <a:gd name="connsiteX3" fmla="*/ 0 w 3030489"/>
              <a:gd name="connsiteY3" fmla="*/ 3429000 h 3429000"/>
              <a:gd name="connsiteX4" fmla="*/ 0 w 3030489"/>
              <a:gd name="connsiteY4" fmla="*/ 630000 h 3429000"/>
              <a:gd name="connsiteX5" fmla="*/ 630000 w 3030489"/>
              <a:gd name="connsiteY5" fmla="*/ 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30489" h="3429000">
                <a:moveTo>
                  <a:pt x="630000" y="0"/>
                </a:moveTo>
                <a:lnTo>
                  <a:pt x="3030489" y="0"/>
                </a:lnTo>
                <a:lnTo>
                  <a:pt x="3030489" y="3429000"/>
                </a:lnTo>
                <a:lnTo>
                  <a:pt x="0" y="3429000"/>
                </a:lnTo>
                <a:lnTo>
                  <a:pt x="0" y="630000"/>
                </a:ln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73" name="Retângulo 4">
            <a:extLst>
              <a:ext uri="{FF2B5EF4-FFF2-40B4-BE49-F238E27FC236}">
                <a16:creationId xmlns:a16="http://schemas.microsoft.com/office/drawing/2014/main" id="{4CA31EBD-D983-0D40-99CA-101EB48A6E6D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4" name="Retângulo 5">
            <a:extLst>
              <a:ext uri="{FF2B5EF4-FFF2-40B4-BE49-F238E27FC236}">
                <a16:creationId xmlns:a16="http://schemas.microsoft.com/office/drawing/2014/main" id="{29D49441-9231-A442-8561-2384BADE4378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5" name="Retângulo 6">
            <a:extLst>
              <a:ext uri="{FF2B5EF4-FFF2-40B4-BE49-F238E27FC236}">
                <a16:creationId xmlns:a16="http://schemas.microsoft.com/office/drawing/2014/main" id="{F7640527-FE94-5349-811E-A2E910A8136C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6" name="Retângulo 7">
            <a:extLst>
              <a:ext uri="{FF2B5EF4-FFF2-40B4-BE49-F238E27FC236}">
                <a16:creationId xmlns:a16="http://schemas.microsoft.com/office/drawing/2014/main" id="{3B638C98-8153-084F-BC91-FF9A132098AF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7" name="Retângulo 8">
            <a:extLst>
              <a:ext uri="{FF2B5EF4-FFF2-40B4-BE49-F238E27FC236}">
                <a16:creationId xmlns:a16="http://schemas.microsoft.com/office/drawing/2014/main" id="{6884A18B-D2C7-6240-8842-51A144CF341C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8" name="Retângulo 9">
            <a:extLst>
              <a:ext uri="{FF2B5EF4-FFF2-40B4-BE49-F238E27FC236}">
                <a16:creationId xmlns:a16="http://schemas.microsoft.com/office/drawing/2014/main" id="{24C46CAB-AC79-FB44-9FE5-10BE6CD36186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9" name="Retângulo 10">
            <a:extLst>
              <a:ext uri="{FF2B5EF4-FFF2-40B4-BE49-F238E27FC236}">
                <a16:creationId xmlns:a16="http://schemas.microsoft.com/office/drawing/2014/main" id="{A90F9425-5A51-3B4F-8146-65B58B0D7858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0" name="Retângulo 11">
            <a:extLst>
              <a:ext uri="{FF2B5EF4-FFF2-40B4-BE49-F238E27FC236}">
                <a16:creationId xmlns:a16="http://schemas.microsoft.com/office/drawing/2014/main" id="{206BCEC6-DDEC-3A4A-8632-AE5121D85535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1" name="Retângulo 12">
            <a:extLst>
              <a:ext uri="{FF2B5EF4-FFF2-40B4-BE49-F238E27FC236}">
                <a16:creationId xmlns:a16="http://schemas.microsoft.com/office/drawing/2014/main" id="{2D82E554-646B-AC40-92DB-034DC637D8B8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2" name="Retângulo 13">
            <a:extLst>
              <a:ext uri="{FF2B5EF4-FFF2-40B4-BE49-F238E27FC236}">
                <a16:creationId xmlns:a16="http://schemas.microsoft.com/office/drawing/2014/main" id="{4DC6A1B2-4201-9E4C-87B2-C5F15A8F3ED3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3" name="Retângulo 14">
            <a:extLst>
              <a:ext uri="{FF2B5EF4-FFF2-40B4-BE49-F238E27FC236}">
                <a16:creationId xmlns:a16="http://schemas.microsoft.com/office/drawing/2014/main" id="{724AB98E-4D47-B647-A7F8-0F4CB9AB3982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pic>
        <p:nvPicPr>
          <p:cNvPr id="84" name="Imagem 2">
            <a:extLst>
              <a:ext uri="{FF2B5EF4-FFF2-40B4-BE49-F238E27FC236}">
                <a16:creationId xmlns:a16="http://schemas.microsoft.com/office/drawing/2014/main" id="{AADDE99A-0728-0242-B16A-CB35B371E8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9116" y="149337"/>
            <a:ext cx="1489367" cy="431576"/>
          </a:xfrm>
          <a:prstGeom prst="rect">
            <a:avLst/>
          </a:prstGeom>
        </p:spPr>
      </p:pic>
      <p:sp>
        <p:nvSpPr>
          <p:cNvPr id="92" name="Espaço Reservado para Conteúdo 16">
            <a:extLst>
              <a:ext uri="{FF2B5EF4-FFF2-40B4-BE49-F238E27FC236}">
                <a16:creationId xmlns:a16="http://schemas.microsoft.com/office/drawing/2014/main" id="{4186F925-99FD-C54A-867C-50D403360B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5629" y="1426732"/>
            <a:ext cx="11689063" cy="4351338"/>
          </a:xfrm>
        </p:spPr>
        <p:txBody>
          <a:bodyPr/>
          <a:lstStyle/>
          <a:p>
            <a:pPr marL="0" indent="0">
              <a:buNone/>
            </a:pPr>
            <a:endParaRPr lang="pt-BR"/>
          </a:p>
        </p:txBody>
      </p:sp>
      <p:sp>
        <p:nvSpPr>
          <p:cNvPr id="93" name="Title 1">
            <a:extLst>
              <a:ext uri="{FF2B5EF4-FFF2-40B4-BE49-F238E27FC236}">
                <a16:creationId xmlns:a16="http://schemas.microsoft.com/office/drawing/2014/main" id="{07966D6B-69A4-EB4B-9D2F-7107E88CD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629" y="176400"/>
            <a:ext cx="10152959" cy="868013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endParaRPr lang="pt-BR"/>
          </a:p>
        </p:txBody>
      </p:sp>
      <p:pic>
        <p:nvPicPr>
          <p:cNvPr id="26" name="Picture 10">
            <a:extLst>
              <a:ext uri="{FF2B5EF4-FFF2-40B4-BE49-F238E27FC236}">
                <a16:creationId xmlns:a16="http://schemas.microsoft.com/office/drawing/2014/main" id="{2FE03CEA-9675-4687-9502-627FCBDE2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11695841" y="6428255"/>
            <a:ext cx="360363" cy="360363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tângulo 3">
            <a:extLst>
              <a:ext uri="{FF2B5EF4-FFF2-40B4-BE49-F238E27FC236}">
                <a16:creationId xmlns:a16="http://schemas.microsoft.com/office/drawing/2014/main" id="{751A6865-6C8E-4052-86A2-59881D4F7A53}"/>
              </a:ext>
            </a:extLst>
          </p:cNvPr>
          <p:cNvSpPr/>
          <p:nvPr userDrawn="1"/>
        </p:nvSpPr>
        <p:spPr>
          <a:xfrm flipH="1" flipV="1">
            <a:off x="1" y="-13387"/>
            <a:ext cx="12199658" cy="594299"/>
          </a:xfrm>
          <a:custGeom>
            <a:avLst/>
            <a:gdLst>
              <a:gd name="connsiteX0" fmla="*/ 0 w 12192000"/>
              <a:gd name="connsiteY0" fmla="*/ 0 h 581340"/>
              <a:gd name="connsiteX1" fmla="*/ 12192000 w 12192000"/>
              <a:gd name="connsiteY1" fmla="*/ 0 h 581340"/>
              <a:gd name="connsiteX2" fmla="*/ 12192000 w 12192000"/>
              <a:gd name="connsiteY2" fmla="*/ 581340 h 581340"/>
              <a:gd name="connsiteX3" fmla="*/ 0 w 12192000"/>
              <a:gd name="connsiteY3" fmla="*/ 581340 h 581340"/>
              <a:gd name="connsiteX4" fmla="*/ 0 w 12192000"/>
              <a:gd name="connsiteY4" fmla="*/ 0 h 581340"/>
              <a:gd name="connsiteX0" fmla="*/ 0 w 12192000"/>
              <a:gd name="connsiteY0" fmla="*/ 10771 h 592111"/>
              <a:gd name="connsiteX1" fmla="*/ 1971207 w 12192000"/>
              <a:gd name="connsiteY1" fmla="*/ 0 h 592111"/>
              <a:gd name="connsiteX2" fmla="*/ 12192000 w 12192000"/>
              <a:gd name="connsiteY2" fmla="*/ 10771 h 592111"/>
              <a:gd name="connsiteX3" fmla="*/ 12192000 w 12192000"/>
              <a:gd name="connsiteY3" fmla="*/ 592111 h 592111"/>
              <a:gd name="connsiteX4" fmla="*/ 0 w 12192000"/>
              <a:gd name="connsiteY4" fmla="*/ 592111 h 592111"/>
              <a:gd name="connsiteX5" fmla="*/ 0 w 12192000"/>
              <a:gd name="connsiteY5" fmla="*/ 10771 h 592111"/>
              <a:gd name="connsiteX0" fmla="*/ 0 w 12192000"/>
              <a:gd name="connsiteY0" fmla="*/ 18266 h 599606"/>
              <a:gd name="connsiteX1" fmla="*/ 1971207 w 12192000"/>
              <a:gd name="connsiteY1" fmla="*/ 7495 h 599606"/>
              <a:gd name="connsiteX2" fmla="*/ 3904938 w 12192000"/>
              <a:gd name="connsiteY2" fmla="*/ 0 h 599606"/>
              <a:gd name="connsiteX3" fmla="*/ 12192000 w 12192000"/>
              <a:gd name="connsiteY3" fmla="*/ 18266 h 599606"/>
              <a:gd name="connsiteX4" fmla="*/ 12192000 w 12192000"/>
              <a:gd name="connsiteY4" fmla="*/ 599606 h 599606"/>
              <a:gd name="connsiteX5" fmla="*/ 0 w 12192000"/>
              <a:gd name="connsiteY5" fmla="*/ 599606 h 599606"/>
              <a:gd name="connsiteX6" fmla="*/ 0 w 12192000"/>
              <a:gd name="connsiteY6" fmla="*/ 18266 h 599606"/>
              <a:gd name="connsiteX0" fmla="*/ 0 w 12206991"/>
              <a:gd name="connsiteY0" fmla="*/ 18266 h 599606"/>
              <a:gd name="connsiteX1" fmla="*/ 1971207 w 12206991"/>
              <a:gd name="connsiteY1" fmla="*/ 7495 h 599606"/>
              <a:gd name="connsiteX2" fmla="*/ 3904938 w 12206991"/>
              <a:gd name="connsiteY2" fmla="*/ 0 h 599606"/>
              <a:gd name="connsiteX3" fmla="*/ 12206991 w 12206991"/>
              <a:gd name="connsiteY3" fmla="*/ 355545 h 599606"/>
              <a:gd name="connsiteX4" fmla="*/ 12192000 w 12206991"/>
              <a:gd name="connsiteY4" fmla="*/ 599606 h 599606"/>
              <a:gd name="connsiteX5" fmla="*/ 0 w 12206991"/>
              <a:gd name="connsiteY5" fmla="*/ 599606 h 599606"/>
              <a:gd name="connsiteX6" fmla="*/ 0 w 12206991"/>
              <a:gd name="connsiteY6" fmla="*/ 18266 h 599606"/>
              <a:gd name="connsiteX0" fmla="*/ 0 w 12206991"/>
              <a:gd name="connsiteY0" fmla="*/ 10771 h 592111"/>
              <a:gd name="connsiteX1" fmla="*/ 1971207 w 12206991"/>
              <a:gd name="connsiteY1" fmla="*/ 0 h 592111"/>
              <a:gd name="connsiteX2" fmla="*/ 3927423 w 12206991"/>
              <a:gd name="connsiteY2" fmla="*/ 322289 h 592111"/>
              <a:gd name="connsiteX3" fmla="*/ 12206991 w 12206991"/>
              <a:gd name="connsiteY3" fmla="*/ 348050 h 592111"/>
              <a:gd name="connsiteX4" fmla="*/ 12192000 w 12206991"/>
              <a:gd name="connsiteY4" fmla="*/ 592111 h 592111"/>
              <a:gd name="connsiteX5" fmla="*/ 0 w 12206991"/>
              <a:gd name="connsiteY5" fmla="*/ 592111 h 592111"/>
              <a:gd name="connsiteX6" fmla="*/ 0 w 12206991"/>
              <a:gd name="connsiteY6" fmla="*/ 10771 h 592111"/>
              <a:gd name="connsiteX0" fmla="*/ 0 w 12206991"/>
              <a:gd name="connsiteY0" fmla="*/ 10771 h 592111"/>
              <a:gd name="connsiteX1" fmla="*/ 1971207 w 12206991"/>
              <a:gd name="connsiteY1" fmla="*/ 0 h 592111"/>
              <a:gd name="connsiteX2" fmla="*/ 3927423 w 12206991"/>
              <a:gd name="connsiteY2" fmla="*/ 322289 h 592111"/>
              <a:gd name="connsiteX3" fmla="*/ 12206991 w 12206991"/>
              <a:gd name="connsiteY3" fmla="*/ 348050 h 592111"/>
              <a:gd name="connsiteX4" fmla="*/ 12192000 w 12206991"/>
              <a:gd name="connsiteY4" fmla="*/ 592111 h 592111"/>
              <a:gd name="connsiteX5" fmla="*/ 0 w 12206991"/>
              <a:gd name="connsiteY5" fmla="*/ 592111 h 592111"/>
              <a:gd name="connsiteX6" fmla="*/ 0 w 12206991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7423 w 12192163"/>
              <a:gd name="connsiteY2" fmla="*/ 322289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6288 h 587628"/>
              <a:gd name="connsiteX1" fmla="*/ 1406430 w 12192163"/>
              <a:gd name="connsiteY1" fmla="*/ 0 h 587628"/>
              <a:gd name="connsiteX2" fmla="*/ 3922481 w 12192163"/>
              <a:gd name="connsiteY2" fmla="*/ 327692 h 587628"/>
              <a:gd name="connsiteX3" fmla="*/ 12192163 w 12192163"/>
              <a:gd name="connsiteY3" fmla="*/ 333682 h 587628"/>
              <a:gd name="connsiteX4" fmla="*/ 12192000 w 12192163"/>
              <a:gd name="connsiteY4" fmla="*/ 587628 h 587628"/>
              <a:gd name="connsiteX5" fmla="*/ 0 w 12192163"/>
              <a:gd name="connsiteY5" fmla="*/ 587628 h 587628"/>
              <a:gd name="connsiteX6" fmla="*/ 0 w 12192163"/>
              <a:gd name="connsiteY6" fmla="*/ 6288 h 587628"/>
              <a:gd name="connsiteX0" fmla="*/ 0 w 12192163"/>
              <a:gd name="connsiteY0" fmla="*/ 6288 h 587628"/>
              <a:gd name="connsiteX1" fmla="*/ 1406430 w 12192163"/>
              <a:gd name="connsiteY1" fmla="*/ 0 h 587628"/>
              <a:gd name="connsiteX2" fmla="*/ 3218752 w 12192163"/>
              <a:gd name="connsiteY2" fmla="*/ 327692 h 587628"/>
              <a:gd name="connsiteX3" fmla="*/ 12192163 w 12192163"/>
              <a:gd name="connsiteY3" fmla="*/ 333682 h 587628"/>
              <a:gd name="connsiteX4" fmla="*/ 12192000 w 12192163"/>
              <a:gd name="connsiteY4" fmla="*/ 587628 h 587628"/>
              <a:gd name="connsiteX5" fmla="*/ 0 w 12192163"/>
              <a:gd name="connsiteY5" fmla="*/ 587628 h 587628"/>
              <a:gd name="connsiteX6" fmla="*/ 0 w 12192163"/>
              <a:gd name="connsiteY6" fmla="*/ 6288 h 587628"/>
              <a:gd name="connsiteX0" fmla="*/ 0 w 12192163"/>
              <a:gd name="connsiteY0" fmla="*/ 9 h 933618"/>
              <a:gd name="connsiteX1" fmla="*/ 1406430 w 12192163"/>
              <a:gd name="connsiteY1" fmla="*/ 345990 h 933618"/>
              <a:gd name="connsiteX2" fmla="*/ 3218752 w 12192163"/>
              <a:gd name="connsiteY2" fmla="*/ 673682 h 933618"/>
              <a:gd name="connsiteX3" fmla="*/ 12192163 w 12192163"/>
              <a:gd name="connsiteY3" fmla="*/ 679672 h 933618"/>
              <a:gd name="connsiteX4" fmla="*/ 12192000 w 12192163"/>
              <a:gd name="connsiteY4" fmla="*/ 933618 h 933618"/>
              <a:gd name="connsiteX5" fmla="*/ 0 w 12192163"/>
              <a:gd name="connsiteY5" fmla="*/ 933618 h 933618"/>
              <a:gd name="connsiteX6" fmla="*/ 0 w 12192163"/>
              <a:gd name="connsiteY6" fmla="*/ 9 h 933618"/>
              <a:gd name="connsiteX0" fmla="*/ 0 w 12192163"/>
              <a:gd name="connsiteY0" fmla="*/ 0 h 933609"/>
              <a:gd name="connsiteX1" fmla="*/ 1383945 w 12192163"/>
              <a:gd name="connsiteY1" fmla="*/ 1207 h 933609"/>
              <a:gd name="connsiteX2" fmla="*/ 3218752 w 12192163"/>
              <a:gd name="connsiteY2" fmla="*/ 673673 h 933609"/>
              <a:gd name="connsiteX3" fmla="*/ 12192163 w 12192163"/>
              <a:gd name="connsiteY3" fmla="*/ 679663 h 933609"/>
              <a:gd name="connsiteX4" fmla="*/ 12192000 w 12192163"/>
              <a:gd name="connsiteY4" fmla="*/ 933609 h 933609"/>
              <a:gd name="connsiteX5" fmla="*/ 0 w 12192163"/>
              <a:gd name="connsiteY5" fmla="*/ 933609 h 933609"/>
              <a:gd name="connsiteX6" fmla="*/ 0 w 12192163"/>
              <a:gd name="connsiteY6" fmla="*/ 0 h 933609"/>
              <a:gd name="connsiteX0" fmla="*/ 0 w 12192163"/>
              <a:gd name="connsiteY0" fmla="*/ 0 h 933609"/>
              <a:gd name="connsiteX1" fmla="*/ 1383945 w 12192163"/>
              <a:gd name="connsiteY1" fmla="*/ 1207 h 933609"/>
              <a:gd name="connsiteX2" fmla="*/ 3143802 w 12192163"/>
              <a:gd name="connsiteY2" fmla="*/ 216473 h 933609"/>
              <a:gd name="connsiteX3" fmla="*/ 12192163 w 12192163"/>
              <a:gd name="connsiteY3" fmla="*/ 679663 h 933609"/>
              <a:gd name="connsiteX4" fmla="*/ 12192000 w 12192163"/>
              <a:gd name="connsiteY4" fmla="*/ 933609 h 933609"/>
              <a:gd name="connsiteX5" fmla="*/ 0 w 12192163"/>
              <a:gd name="connsiteY5" fmla="*/ 933609 h 933609"/>
              <a:gd name="connsiteX6" fmla="*/ 0 w 12192163"/>
              <a:gd name="connsiteY6" fmla="*/ 0 h 933609"/>
              <a:gd name="connsiteX0" fmla="*/ 0 w 12229638"/>
              <a:gd name="connsiteY0" fmla="*/ 0 h 933609"/>
              <a:gd name="connsiteX1" fmla="*/ 1383945 w 12229638"/>
              <a:gd name="connsiteY1" fmla="*/ 1207 h 933609"/>
              <a:gd name="connsiteX2" fmla="*/ 3143802 w 12229638"/>
              <a:gd name="connsiteY2" fmla="*/ 216473 h 933609"/>
              <a:gd name="connsiteX3" fmla="*/ 12229638 w 12229638"/>
              <a:gd name="connsiteY3" fmla="*/ 222463 h 933609"/>
              <a:gd name="connsiteX4" fmla="*/ 12192000 w 12229638"/>
              <a:gd name="connsiteY4" fmla="*/ 933609 h 933609"/>
              <a:gd name="connsiteX5" fmla="*/ 0 w 12229638"/>
              <a:gd name="connsiteY5" fmla="*/ 933609 h 933609"/>
              <a:gd name="connsiteX6" fmla="*/ 0 w 1222963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43802 w 12199658"/>
              <a:gd name="connsiteY2" fmla="*/ 216473 h 933609"/>
              <a:gd name="connsiteX3" fmla="*/ 12199658 w 12199658"/>
              <a:gd name="connsiteY3" fmla="*/ 19997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43802 w 12199658"/>
              <a:gd name="connsiteY2" fmla="*/ 216473 h 933609"/>
              <a:gd name="connsiteX3" fmla="*/ 12199658 w 12199658"/>
              <a:gd name="connsiteY3" fmla="*/ 19997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61101 w 12199658"/>
              <a:gd name="connsiteY2" fmla="*/ 293085 h 933609"/>
              <a:gd name="connsiteX3" fmla="*/ 12199658 w 12199658"/>
              <a:gd name="connsiteY3" fmla="*/ 19997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61101 w 12199658"/>
              <a:gd name="connsiteY2" fmla="*/ 293085 h 933609"/>
              <a:gd name="connsiteX3" fmla="*/ 12199658 w 12199658"/>
              <a:gd name="connsiteY3" fmla="*/ 29141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6531 w 12199658"/>
              <a:gd name="connsiteY0" fmla="*/ 730314 h 932403"/>
              <a:gd name="connsiteX1" fmla="*/ 1383945 w 12199658"/>
              <a:gd name="connsiteY1" fmla="*/ 1 h 932403"/>
              <a:gd name="connsiteX2" fmla="*/ 3161101 w 12199658"/>
              <a:gd name="connsiteY2" fmla="*/ 291879 h 932403"/>
              <a:gd name="connsiteX3" fmla="*/ 12199658 w 12199658"/>
              <a:gd name="connsiteY3" fmla="*/ 290212 h 932403"/>
              <a:gd name="connsiteX4" fmla="*/ 12192000 w 12199658"/>
              <a:gd name="connsiteY4" fmla="*/ 932403 h 932403"/>
              <a:gd name="connsiteX5" fmla="*/ 0 w 12199658"/>
              <a:gd name="connsiteY5" fmla="*/ 932403 h 932403"/>
              <a:gd name="connsiteX6" fmla="*/ 6531 w 12199658"/>
              <a:gd name="connsiteY6" fmla="*/ 730314 h 932403"/>
              <a:gd name="connsiteX0" fmla="*/ 6531 w 12199658"/>
              <a:gd name="connsiteY0" fmla="*/ 440102 h 642191"/>
              <a:gd name="connsiteX1" fmla="*/ 1377414 w 12199658"/>
              <a:gd name="connsiteY1" fmla="*/ 434777 h 642191"/>
              <a:gd name="connsiteX2" fmla="*/ 3161101 w 12199658"/>
              <a:gd name="connsiteY2" fmla="*/ 1667 h 642191"/>
              <a:gd name="connsiteX3" fmla="*/ 12199658 w 12199658"/>
              <a:gd name="connsiteY3" fmla="*/ 0 h 642191"/>
              <a:gd name="connsiteX4" fmla="*/ 12192000 w 12199658"/>
              <a:gd name="connsiteY4" fmla="*/ 642191 h 642191"/>
              <a:gd name="connsiteX5" fmla="*/ 0 w 12199658"/>
              <a:gd name="connsiteY5" fmla="*/ 642191 h 642191"/>
              <a:gd name="connsiteX6" fmla="*/ 6531 w 12199658"/>
              <a:gd name="connsiteY6" fmla="*/ 440102 h 642191"/>
              <a:gd name="connsiteX0" fmla="*/ 6531 w 12199658"/>
              <a:gd name="connsiteY0" fmla="*/ 440102 h 642191"/>
              <a:gd name="connsiteX1" fmla="*/ 1377414 w 12199658"/>
              <a:gd name="connsiteY1" fmla="*/ 434777 h 642191"/>
              <a:gd name="connsiteX2" fmla="*/ 3161101 w 12199658"/>
              <a:gd name="connsiteY2" fmla="*/ 1667 h 642191"/>
              <a:gd name="connsiteX3" fmla="*/ 12199658 w 12199658"/>
              <a:gd name="connsiteY3" fmla="*/ 0 h 642191"/>
              <a:gd name="connsiteX4" fmla="*/ 12192000 w 12199658"/>
              <a:gd name="connsiteY4" fmla="*/ 642191 h 642191"/>
              <a:gd name="connsiteX5" fmla="*/ 0 w 12199658"/>
              <a:gd name="connsiteY5" fmla="*/ 642191 h 642191"/>
              <a:gd name="connsiteX6" fmla="*/ 6531 w 12199658"/>
              <a:gd name="connsiteY6" fmla="*/ 440102 h 642191"/>
              <a:gd name="connsiteX0" fmla="*/ 6531 w 12199658"/>
              <a:gd name="connsiteY0" fmla="*/ 440102 h 642191"/>
              <a:gd name="connsiteX1" fmla="*/ 1377414 w 12199658"/>
              <a:gd name="connsiteY1" fmla="*/ 434777 h 642191"/>
              <a:gd name="connsiteX2" fmla="*/ 3161101 w 12199658"/>
              <a:gd name="connsiteY2" fmla="*/ 1667 h 642191"/>
              <a:gd name="connsiteX3" fmla="*/ 12199658 w 12199658"/>
              <a:gd name="connsiteY3" fmla="*/ 0 h 642191"/>
              <a:gd name="connsiteX4" fmla="*/ 12192000 w 12199658"/>
              <a:gd name="connsiteY4" fmla="*/ 642191 h 642191"/>
              <a:gd name="connsiteX5" fmla="*/ 0 w 12199658"/>
              <a:gd name="connsiteY5" fmla="*/ 642191 h 642191"/>
              <a:gd name="connsiteX6" fmla="*/ 6531 w 12199658"/>
              <a:gd name="connsiteY6" fmla="*/ 440102 h 642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9658" h="642191">
                <a:moveTo>
                  <a:pt x="6531" y="440102"/>
                </a:moveTo>
                <a:lnTo>
                  <a:pt x="1377414" y="434777"/>
                </a:lnTo>
                <a:cubicBezTo>
                  <a:pt x="2069852" y="451590"/>
                  <a:pt x="1724786" y="2153"/>
                  <a:pt x="3161101" y="1667"/>
                </a:cubicBezTo>
                <a:lnTo>
                  <a:pt x="12199658" y="0"/>
                </a:lnTo>
                <a:cubicBezTo>
                  <a:pt x="12199604" y="84649"/>
                  <a:pt x="12192054" y="557542"/>
                  <a:pt x="12192000" y="642191"/>
                </a:cubicBezTo>
                <a:lnTo>
                  <a:pt x="0" y="642191"/>
                </a:lnTo>
                <a:lnTo>
                  <a:pt x="6531" y="440102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9" name="Agrupar 23">
            <a:extLst>
              <a:ext uri="{FF2B5EF4-FFF2-40B4-BE49-F238E27FC236}">
                <a16:creationId xmlns:a16="http://schemas.microsoft.com/office/drawing/2014/main" id="{27883A16-0CE5-4476-8087-ACC23F24571D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B6D23BD4-7EA0-48BF-BCC7-6CBF1227A4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EF064692-DFAD-4B54-8D5E-57A48C11DC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32" name="Oval 27">
              <a:extLst>
                <a:ext uri="{FF2B5EF4-FFF2-40B4-BE49-F238E27FC236}">
                  <a16:creationId xmlns:a16="http://schemas.microsoft.com/office/drawing/2014/main" id="{E4B05A9E-7FE1-42EA-9FCC-01197E0C6E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33" name="Freeform 14">
              <a:extLst>
                <a:ext uri="{FF2B5EF4-FFF2-40B4-BE49-F238E27FC236}">
                  <a16:creationId xmlns:a16="http://schemas.microsoft.com/office/drawing/2014/main" id="{9E07A9AB-7423-4240-BBD6-33FD0EDD9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67A15C8C-DAA1-49AD-8ACC-1F473EF7E0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82758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rma Livre: Forma 26">
            <a:extLst>
              <a:ext uri="{FF2B5EF4-FFF2-40B4-BE49-F238E27FC236}">
                <a16:creationId xmlns:a16="http://schemas.microsoft.com/office/drawing/2014/main" id="{B96E4D12-E6E9-49C6-B344-EE72BA66CAD0}"/>
              </a:ext>
            </a:extLst>
          </p:cNvPr>
          <p:cNvSpPr/>
          <p:nvPr userDrawn="1"/>
        </p:nvSpPr>
        <p:spPr>
          <a:xfrm>
            <a:off x="0" y="6379648"/>
            <a:ext cx="12192162" cy="478353"/>
          </a:xfrm>
          <a:custGeom>
            <a:avLst/>
            <a:gdLst>
              <a:gd name="connsiteX0" fmla="*/ 0 w 12192162"/>
              <a:gd name="connsiteY0" fmla="*/ 0 h 478353"/>
              <a:gd name="connsiteX1" fmla="*/ 897812 w 12192162"/>
              <a:gd name="connsiteY1" fmla="*/ 1844 h 478353"/>
              <a:gd name="connsiteX2" fmla="*/ 1389496 w 12192162"/>
              <a:gd name="connsiteY2" fmla="*/ 3614 h 478353"/>
              <a:gd name="connsiteX3" fmla="*/ 3218751 w 12192162"/>
              <a:gd name="connsiteY3" fmla="*/ 218417 h 478353"/>
              <a:gd name="connsiteX4" fmla="*/ 12192162 w 12192162"/>
              <a:gd name="connsiteY4" fmla="*/ 224407 h 478353"/>
              <a:gd name="connsiteX5" fmla="*/ 12191999 w 12192162"/>
              <a:gd name="connsiteY5" fmla="*/ 478353 h 478353"/>
              <a:gd name="connsiteX6" fmla="*/ 0 w 12192162"/>
              <a:gd name="connsiteY6" fmla="*/ 478353 h 4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162" h="478353">
                <a:moveTo>
                  <a:pt x="0" y="0"/>
                </a:moveTo>
                <a:lnTo>
                  <a:pt x="897812" y="1844"/>
                </a:lnTo>
                <a:lnTo>
                  <a:pt x="1389496" y="3614"/>
                </a:lnTo>
                <a:cubicBezTo>
                  <a:pt x="2155312" y="11961"/>
                  <a:pt x="1782436" y="218903"/>
                  <a:pt x="3218751" y="218417"/>
                </a:cubicBezTo>
                <a:lnTo>
                  <a:pt x="12192162" y="224407"/>
                </a:lnTo>
                <a:cubicBezTo>
                  <a:pt x="12192108" y="309056"/>
                  <a:pt x="12192053" y="393704"/>
                  <a:pt x="12191999" y="478353"/>
                </a:cubicBezTo>
                <a:lnTo>
                  <a:pt x="0" y="47835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25" name="Forma Livre: Forma 24">
            <a:extLst>
              <a:ext uri="{FF2B5EF4-FFF2-40B4-BE49-F238E27FC236}">
                <a16:creationId xmlns:a16="http://schemas.microsoft.com/office/drawing/2014/main" id="{93BADF8D-74EE-48ED-8F6A-13F311C95FC2}"/>
              </a:ext>
            </a:extLst>
          </p:cNvPr>
          <p:cNvSpPr/>
          <p:nvPr userDrawn="1"/>
        </p:nvSpPr>
        <p:spPr>
          <a:xfrm>
            <a:off x="4903694" y="-64546"/>
            <a:ext cx="7288315" cy="6922547"/>
          </a:xfrm>
          <a:custGeom>
            <a:avLst/>
            <a:gdLst>
              <a:gd name="connsiteX0" fmla="*/ 188259 w 7288315"/>
              <a:gd name="connsiteY0" fmla="*/ 0 h 6871386"/>
              <a:gd name="connsiteX1" fmla="*/ 7288306 w 7288315"/>
              <a:gd name="connsiteY1" fmla="*/ 0 h 6871386"/>
              <a:gd name="connsiteX2" fmla="*/ 7288306 w 7288315"/>
              <a:gd name="connsiteY2" fmla="*/ 6857999 h 6871386"/>
              <a:gd name="connsiteX3" fmla="*/ 7288315 w 7288315"/>
              <a:gd name="connsiteY3" fmla="*/ 6857999 h 6871386"/>
              <a:gd name="connsiteX4" fmla="*/ 7288306 w 7288315"/>
              <a:gd name="connsiteY4" fmla="*/ 6871386 h 6871386"/>
              <a:gd name="connsiteX5" fmla="*/ 0 w 7288315"/>
              <a:gd name="connsiteY5" fmla="*/ 6871386 h 6871386"/>
              <a:gd name="connsiteX6" fmla="*/ 0 w 7288315"/>
              <a:gd name="connsiteY6" fmla="*/ 6614331 h 6871386"/>
              <a:gd name="connsiteX7" fmla="*/ 2699340 w 7288315"/>
              <a:gd name="connsiteY7" fmla="*/ 6618946 h 6871386"/>
              <a:gd name="connsiteX8" fmla="*/ 5755847 w 7288315"/>
              <a:gd name="connsiteY8" fmla="*/ 3090634 h 6871386"/>
              <a:gd name="connsiteX9" fmla="*/ 5800665 w 7288315"/>
              <a:gd name="connsiteY9" fmla="*/ 3019430 h 6871386"/>
              <a:gd name="connsiteX10" fmla="*/ 5821495 w 7288315"/>
              <a:gd name="connsiteY10" fmla="*/ 2986335 h 6871386"/>
              <a:gd name="connsiteX11" fmla="*/ 5918102 w 7288315"/>
              <a:gd name="connsiteY11" fmla="*/ 2818257 h 6871386"/>
              <a:gd name="connsiteX12" fmla="*/ 6067876 w 7288315"/>
              <a:gd name="connsiteY12" fmla="*/ 2159779 h 6871386"/>
              <a:gd name="connsiteX13" fmla="*/ 4704334 w 7288315"/>
              <a:gd name="connsiteY13" fmla="*/ 648787 h 6871386"/>
              <a:gd name="connsiteX14" fmla="*/ 4563737 w 7288315"/>
              <a:gd name="connsiteY14" fmla="*/ 641687 h 6871386"/>
              <a:gd name="connsiteX15" fmla="*/ 188259 w 7288315"/>
              <a:gd name="connsiteY15" fmla="*/ 640880 h 6871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288315" h="6871386">
                <a:moveTo>
                  <a:pt x="188259" y="0"/>
                </a:moveTo>
                <a:lnTo>
                  <a:pt x="7288306" y="0"/>
                </a:lnTo>
                <a:lnTo>
                  <a:pt x="7288306" y="6857999"/>
                </a:lnTo>
                <a:lnTo>
                  <a:pt x="7288315" y="6857999"/>
                </a:lnTo>
                <a:cubicBezTo>
                  <a:pt x="7288312" y="6862461"/>
                  <a:pt x="7288309" y="6866924"/>
                  <a:pt x="7288306" y="6871386"/>
                </a:cubicBezTo>
                <a:lnTo>
                  <a:pt x="0" y="6871386"/>
                </a:lnTo>
                <a:lnTo>
                  <a:pt x="0" y="6614331"/>
                </a:lnTo>
                <a:lnTo>
                  <a:pt x="2699340" y="6618946"/>
                </a:lnTo>
                <a:cubicBezTo>
                  <a:pt x="3313112" y="6617926"/>
                  <a:pt x="4821417" y="4365212"/>
                  <a:pt x="5755847" y="3090634"/>
                </a:cubicBezTo>
                <a:lnTo>
                  <a:pt x="5800665" y="3019430"/>
                </a:lnTo>
                <a:lnTo>
                  <a:pt x="5821495" y="2986335"/>
                </a:lnTo>
                <a:lnTo>
                  <a:pt x="5918102" y="2818257"/>
                </a:lnTo>
                <a:cubicBezTo>
                  <a:pt x="6014086" y="2619057"/>
                  <a:pt x="6067876" y="2395701"/>
                  <a:pt x="6067876" y="2159779"/>
                </a:cubicBezTo>
                <a:cubicBezTo>
                  <a:pt x="6067876" y="1373377"/>
                  <a:pt x="5470215" y="726566"/>
                  <a:pt x="4704334" y="648787"/>
                </a:cubicBezTo>
                <a:lnTo>
                  <a:pt x="4563737" y="641687"/>
                </a:lnTo>
                <a:lnTo>
                  <a:pt x="188259" y="640880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73" name="Retângulo 4">
            <a:extLst>
              <a:ext uri="{FF2B5EF4-FFF2-40B4-BE49-F238E27FC236}">
                <a16:creationId xmlns:a16="http://schemas.microsoft.com/office/drawing/2014/main" id="{4CA31EBD-D983-0D40-99CA-101EB48A6E6D}"/>
              </a:ext>
            </a:extLst>
          </p:cNvPr>
          <p:cNvSpPr/>
          <p:nvPr userDrawn="1"/>
        </p:nvSpPr>
        <p:spPr>
          <a:xfrm>
            <a:off x="-360528" y="748143"/>
            <a:ext cx="180000" cy="180000"/>
          </a:xfrm>
          <a:prstGeom prst="rect">
            <a:avLst/>
          </a:prstGeom>
          <a:solidFill>
            <a:srgbClr val="00854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4" name="Retângulo 5">
            <a:extLst>
              <a:ext uri="{FF2B5EF4-FFF2-40B4-BE49-F238E27FC236}">
                <a16:creationId xmlns:a16="http://schemas.microsoft.com/office/drawing/2014/main" id="{29D49441-9231-A442-8561-2384BADE4378}"/>
              </a:ext>
            </a:extLst>
          </p:cNvPr>
          <p:cNvSpPr/>
          <p:nvPr userDrawn="1"/>
        </p:nvSpPr>
        <p:spPr>
          <a:xfrm>
            <a:off x="-360528" y="1121327"/>
            <a:ext cx="180000" cy="180000"/>
          </a:xfrm>
          <a:prstGeom prst="rect">
            <a:avLst/>
          </a:prstGeom>
          <a:solidFill>
            <a:srgbClr val="FDC82F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5" name="Retângulo 6">
            <a:extLst>
              <a:ext uri="{FF2B5EF4-FFF2-40B4-BE49-F238E27FC236}">
                <a16:creationId xmlns:a16="http://schemas.microsoft.com/office/drawing/2014/main" id="{F7640527-FE94-5349-811E-A2E910A8136C}"/>
              </a:ext>
            </a:extLst>
          </p:cNvPr>
          <p:cNvSpPr/>
          <p:nvPr userDrawn="1"/>
        </p:nvSpPr>
        <p:spPr>
          <a:xfrm>
            <a:off x="-360528" y="1494511"/>
            <a:ext cx="180000" cy="180000"/>
          </a:xfrm>
          <a:prstGeom prst="rect">
            <a:avLst/>
          </a:prstGeom>
          <a:solidFill>
            <a:srgbClr val="006298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6" name="Retângulo 7">
            <a:extLst>
              <a:ext uri="{FF2B5EF4-FFF2-40B4-BE49-F238E27FC236}">
                <a16:creationId xmlns:a16="http://schemas.microsoft.com/office/drawing/2014/main" id="{3B638C98-8153-084F-BC91-FF9A132098AF}"/>
              </a:ext>
            </a:extLst>
          </p:cNvPr>
          <p:cNvSpPr/>
          <p:nvPr userDrawn="1"/>
        </p:nvSpPr>
        <p:spPr>
          <a:xfrm>
            <a:off x="-360528" y="1867695"/>
            <a:ext cx="180000" cy="180000"/>
          </a:xfrm>
          <a:prstGeom prst="rect">
            <a:avLst/>
          </a:prstGeom>
          <a:solidFill>
            <a:srgbClr val="00B2A9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7" name="Retângulo 8">
            <a:extLst>
              <a:ext uri="{FF2B5EF4-FFF2-40B4-BE49-F238E27FC236}">
                <a16:creationId xmlns:a16="http://schemas.microsoft.com/office/drawing/2014/main" id="{6884A18B-D2C7-6240-8842-51A144CF341C}"/>
              </a:ext>
            </a:extLst>
          </p:cNvPr>
          <p:cNvSpPr/>
          <p:nvPr userDrawn="1"/>
        </p:nvSpPr>
        <p:spPr>
          <a:xfrm>
            <a:off x="-360528" y="2240879"/>
            <a:ext cx="180000" cy="180000"/>
          </a:xfrm>
          <a:prstGeom prst="rect">
            <a:avLst/>
          </a:prstGeom>
          <a:solidFill>
            <a:srgbClr val="A8B4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8" name="Retângulo 9">
            <a:extLst>
              <a:ext uri="{FF2B5EF4-FFF2-40B4-BE49-F238E27FC236}">
                <a16:creationId xmlns:a16="http://schemas.microsoft.com/office/drawing/2014/main" id="{24C46CAB-AC79-FB44-9FE5-10BE6CD36186}"/>
              </a:ext>
            </a:extLst>
          </p:cNvPr>
          <p:cNvSpPr/>
          <p:nvPr userDrawn="1"/>
        </p:nvSpPr>
        <p:spPr>
          <a:xfrm>
            <a:off x="-360528" y="2614063"/>
            <a:ext cx="180000" cy="180000"/>
          </a:xfrm>
          <a:prstGeom prst="rect">
            <a:avLst/>
          </a:prstGeom>
          <a:solidFill>
            <a:srgbClr val="FEDF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79" name="Retângulo 10">
            <a:extLst>
              <a:ext uri="{FF2B5EF4-FFF2-40B4-BE49-F238E27FC236}">
                <a16:creationId xmlns:a16="http://schemas.microsoft.com/office/drawing/2014/main" id="{A90F9425-5A51-3B4F-8146-65B58B0D7858}"/>
              </a:ext>
            </a:extLst>
          </p:cNvPr>
          <p:cNvSpPr/>
          <p:nvPr userDrawn="1"/>
        </p:nvSpPr>
        <p:spPr>
          <a:xfrm>
            <a:off x="-360528" y="2987247"/>
            <a:ext cx="180000" cy="180000"/>
          </a:xfrm>
          <a:prstGeom prst="rect">
            <a:avLst/>
          </a:prstGeom>
          <a:solidFill>
            <a:srgbClr val="FF7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0" name="Retângulo 11">
            <a:extLst>
              <a:ext uri="{FF2B5EF4-FFF2-40B4-BE49-F238E27FC236}">
                <a16:creationId xmlns:a16="http://schemas.microsoft.com/office/drawing/2014/main" id="{206BCEC6-DDEC-3A4A-8632-AE5121D85535}"/>
              </a:ext>
            </a:extLst>
          </p:cNvPr>
          <p:cNvSpPr/>
          <p:nvPr userDrawn="1"/>
        </p:nvSpPr>
        <p:spPr>
          <a:xfrm>
            <a:off x="-360528" y="3360431"/>
            <a:ext cx="180000" cy="180000"/>
          </a:xfrm>
          <a:prstGeom prst="rect">
            <a:avLst/>
          </a:prstGeom>
          <a:solidFill>
            <a:srgbClr val="675C53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1" name="Retângulo 12">
            <a:extLst>
              <a:ext uri="{FF2B5EF4-FFF2-40B4-BE49-F238E27FC236}">
                <a16:creationId xmlns:a16="http://schemas.microsoft.com/office/drawing/2014/main" id="{2D82E554-646B-AC40-92DB-034DC637D8B8}"/>
              </a:ext>
            </a:extLst>
          </p:cNvPr>
          <p:cNvSpPr/>
          <p:nvPr userDrawn="1"/>
        </p:nvSpPr>
        <p:spPr>
          <a:xfrm>
            <a:off x="-360528" y="3733615"/>
            <a:ext cx="180000" cy="180000"/>
          </a:xfrm>
          <a:prstGeom prst="rect">
            <a:avLst/>
          </a:prstGeom>
          <a:solidFill>
            <a:srgbClr val="BCBDBC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2" name="Retângulo 13">
            <a:extLst>
              <a:ext uri="{FF2B5EF4-FFF2-40B4-BE49-F238E27FC236}">
                <a16:creationId xmlns:a16="http://schemas.microsoft.com/office/drawing/2014/main" id="{4DC6A1B2-4201-9E4C-87B2-C5F15A8F3ED3}"/>
              </a:ext>
            </a:extLst>
          </p:cNvPr>
          <p:cNvSpPr/>
          <p:nvPr userDrawn="1"/>
        </p:nvSpPr>
        <p:spPr>
          <a:xfrm>
            <a:off x="-360528" y="4106799"/>
            <a:ext cx="180000" cy="180000"/>
          </a:xfrm>
          <a:prstGeom prst="rect">
            <a:avLst/>
          </a:prstGeom>
          <a:solidFill>
            <a:srgbClr val="00416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3" name="Retângulo 14">
            <a:extLst>
              <a:ext uri="{FF2B5EF4-FFF2-40B4-BE49-F238E27FC236}">
                <a16:creationId xmlns:a16="http://schemas.microsoft.com/office/drawing/2014/main" id="{724AB98E-4D47-B647-A7F8-0F4CB9AB3982}"/>
              </a:ext>
            </a:extLst>
          </p:cNvPr>
          <p:cNvSpPr/>
          <p:nvPr userDrawn="1"/>
        </p:nvSpPr>
        <p:spPr>
          <a:xfrm>
            <a:off x="-360528" y="4479982"/>
            <a:ext cx="180000" cy="180000"/>
          </a:xfrm>
          <a:prstGeom prst="rect">
            <a:avLst/>
          </a:prstGeom>
          <a:solidFill>
            <a:srgbClr val="7D9AA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92" name="Espaço Reservado para Conteúdo 16">
            <a:extLst>
              <a:ext uri="{FF2B5EF4-FFF2-40B4-BE49-F238E27FC236}">
                <a16:creationId xmlns:a16="http://schemas.microsoft.com/office/drawing/2014/main" id="{4186F925-99FD-C54A-867C-50D403360B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5629" y="1426732"/>
            <a:ext cx="11689063" cy="4351338"/>
          </a:xfrm>
        </p:spPr>
        <p:txBody>
          <a:bodyPr/>
          <a:lstStyle/>
          <a:p>
            <a:pPr marL="0" indent="0">
              <a:buNone/>
            </a:pPr>
            <a:endParaRPr lang="pt-BR"/>
          </a:p>
        </p:txBody>
      </p:sp>
      <p:sp>
        <p:nvSpPr>
          <p:cNvPr id="93" name="Title 1">
            <a:extLst>
              <a:ext uri="{FF2B5EF4-FFF2-40B4-BE49-F238E27FC236}">
                <a16:creationId xmlns:a16="http://schemas.microsoft.com/office/drawing/2014/main" id="{07966D6B-69A4-EB4B-9D2F-7107E88CD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629" y="176400"/>
            <a:ext cx="10152959" cy="868013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endParaRPr lang="pt-BR"/>
          </a:p>
        </p:txBody>
      </p:sp>
      <p:sp>
        <p:nvSpPr>
          <p:cNvPr id="26" name="Retângulo 3">
            <a:extLst>
              <a:ext uri="{FF2B5EF4-FFF2-40B4-BE49-F238E27FC236}">
                <a16:creationId xmlns:a16="http://schemas.microsoft.com/office/drawing/2014/main" id="{690F6043-1AA5-4FE2-AAAF-62106497719A}"/>
              </a:ext>
            </a:extLst>
          </p:cNvPr>
          <p:cNvSpPr/>
          <p:nvPr userDrawn="1"/>
        </p:nvSpPr>
        <p:spPr>
          <a:xfrm flipH="1" flipV="1">
            <a:off x="1" y="-13387"/>
            <a:ext cx="12199658" cy="594299"/>
          </a:xfrm>
          <a:custGeom>
            <a:avLst/>
            <a:gdLst>
              <a:gd name="connsiteX0" fmla="*/ 0 w 12192000"/>
              <a:gd name="connsiteY0" fmla="*/ 0 h 581340"/>
              <a:gd name="connsiteX1" fmla="*/ 12192000 w 12192000"/>
              <a:gd name="connsiteY1" fmla="*/ 0 h 581340"/>
              <a:gd name="connsiteX2" fmla="*/ 12192000 w 12192000"/>
              <a:gd name="connsiteY2" fmla="*/ 581340 h 581340"/>
              <a:gd name="connsiteX3" fmla="*/ 0 w 12192000"/>
              <a:gd name="connsiteY3" fmla="*/ 581340 h 581340"/>
              <a:gd name="connsiteX4" fmla="*/ 0 w 12192000"/>
              <a:gd name="connsiteY4" fmla="*/ 0 h 581340"/>
              <a:gd name="connsiteX0" fmla="*/ 0 w 12192000"/>
              <a:gd name="connsiteY0" fmla="*/ 10771 h 592111"/>
              <a:gd name="connsiteX1" fmla="*/ 1971207 w 12192000"/>
              <a:gd name="connsiteY1" fmla="*/ 0 h 592111"/>
              <a:gd name="connsiteX2" fmla="*/ 12192000 w 12192000"/>
              <a:gd name="connsiteY2" fmla="*/ 10771 h 592111"/>
              <a:gd name="connsiteX3" fmla="*/ 12192000 w 12192000"/>
              <a:gd name="connsiteY3" fmla="*/ 592111 h 592111"/>
              <a:gd name="connsiteX4" fmla="*/ 0 w 12192000"/>
              <a:gd name="connsiteY4" fmla="*/ 592111 h 592111"/>
              <a:gd name="connsiteX5" fmla="*/ 0 w 12192000"/>
              <a:gd name="connsiteY5" fmla="*/ 10771 h 592111"/>
              <a:gd name="connsiteX0" fmla="*/ 0 w 12192000"/>
              <a:gd name="connsiteY0" fmla="*/ 18266 h 599606"/>
              <a:gd name="connsiteX1" fmla="*/ 1971207 w 12192000"/>
              <a:gd name="connsiteY1" fmla="*/ 7495 h 599606"/>
              <a:gd name="connsiteX2" fmla="*/ 3904938 w 12192000"/>
              <a:gd name="connsiteY2" fmla="*/ 0 h 599606"/>
              <a:gd name="connsiteX3" fmla="*/ 12192000 w 12192000"/>
              <a:gd name="connsiteY3" fmla="*/ 18266 h 599606"/>
              <a:gd name="connsiteX4" fmla="*/ 12192000 w 12192000"/>
              <a:gd name="connsiteY4" fmla="*/ 599606 h 599606"/>
              <a:gd name="connsiteX5" fmla="*/ 0 w 12192000"/>
              <a:gd name="connsiteY5" fmla="*/ 599606 h 599606"/>
              <a:gd name="connsiteX6" fmla="*/ 0 w 12192000"/>
              <a:gd name="connsiteY6" fmla="*/ 18266 h 599606"/>
              <a:gd name="connsiteX0" fmla="*/ 0 w 12206991"/>
              <a:gd name="connsiteY0" fmla="*/ 18266 h 599606"/>
              <a:gd name="connsiteX1" fmla="*/ 1971207 w 12206991"/>
              <a:gd name="connsiteY1" fmla="*/ 7495 h 599606"/>
              <a:gd name="connsiteX2" fmla="*/ 3904938 w 12206991"/>
              <a:gd name="connsiteY2" fmla="*/ 0 h 599606"/>
              <a:gd name="connsiteX3" fmla="*/ 12206991 w 12206991"/>
              <a:gd name="connsiteY3" fmla="*/ 355545 h 599606"/>
              <a:gd name="connsiteX4" fmla="*/ 12192000 w 12206991"/>
              <a:gd name="connsiteY4" fmla="*/ 599606 h 599606"/>
              <a:gd name="connsiteX5" fmla="*/ 0 w 12206991"/>
              <a:gd name="connsiteY5" fmla="*/ 599606 h 599606"/>
              <a:gd name="connsiteX6" fmla="*/ 0 w 12206991"/>
              <a:gd name="connsiteY6" fmla="*/ 18266 h 599606"/>
              <a:gd name="connsiteX0" fmla="*/ 0 w 12206991"/>
              <a:gd name="connsiteY0" fmla="*/ 10771 h 592111"/>
              <a:gd name="connsiteX1" fmla="*/ 1971207 w 12206991"/>
              <a:gd name="connsiteY1" fmla="*/ 0 h 592111"/>
              <a:gd name="connsiteX2" fmla="*/ 3927423 w 12206991"/>
              <a:gd name="connsiteY2" fmla="*/ 322289 h 592111"/>
              <a:gd name="connsiteX3" fmla="*/ 12206991 w 12206991"/>
              <a:gd name="connsiteY3" fmla="*/ 348050 h 592111"/>
              <a:gd name="connsiteX4" fmla="*/ 12192000 w 12206991"/>
              <a:gd name="connsiteY4" fmla="*/ 592111 h 592111"/>
              <a:gd name="connsiteX5" fmla="*/ 0 w 12206991"/>
              <a:gd name="connsiteY5" fmla="*/ 592111 h 592111"/>
              <a:gd name="connsiteX6" fmla="*/ 0 w 12206991"/>
              <a:gd name="connsiteY6" fmla="*/ 10771 h 592111"/>
              <a:gd name="connsiteX0" fmla="*/ 0 w 12206991"/>
              <a:gd name="connsiteY0" fmla="*/ 10771 h 592111"/>
              <a:gd name="connsiteX1" fmla="*/ 1971207 w 12206991"/>
              <a:gd name="connsiteY1" fmla="*/ 0 h 592111"/>
              <a:gd name="connsiteX2" fmla="*/ 3927423 w 12206991"/>
              <a:gd name="connsiteY2" fmla="*/ 322289 h 592111"/>
              <a:gd name="connsiteX3" fmla="*/ 12206991 w 12206991"/>
              <a:gd name="connsiteY3" fmla="*/ 348050 h 592111"/>
              <a:gd name="connsiteX4" fmla="*/ 12192000 w 12206991"/>
              <a:gd name="connsiteY4" fmla="*/ 592111 h 592111"/>
              <a:gd name="connsiteX5" fmla="*/ 0 w 12206991"/>
              <a:gd name="connsiteY5" fmla="*/ 592111 h 592111"/>
              <a:gd name="connsiteX6" fmla="*/ 0 w 12206991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7423 w 12192163"/>
              <a:gd name="connsiteY2" fmla="*/ 322289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6288 h 587628"/>
              <a:gd name="connsiteX1" fmla="*/ 1406430 w 12192163"/>
              <a:gd name="connsiteY1" fmla="*/ 0 h 587628"/>
              <a:gd name="connsiteX2" fmla="*/ 3922481 w 12192163"/>
              <a:gd name="connsiteY2" fmla="*/ 327692 h 587628"/>
              <a:gd name="connsiteX3" fmla="*/ 12192163 w 12192163"/>
              <a:gd name="connsiteY3" fmla="*/ 333682 h 587628"/>
              <a:gd name="connsiteX4" fmla="*/ 12192000 w 12192163"/>
              <a:gd name="connsiteY4" fmla="*/ 587628 h 587628"/>
              <a:gd name="connsiteX5" fmla="*/ 0 w 12192163"/>
              <a:gd name="connsiteY5" fmla="*/ 587628 h 587628"/>
              <a:gd name="connsiteX6" fmla="*/ 0 w 12192163"/>
              <a:gd name="connsiteY6" fmla="*/ 6288 h 587628"/>
              <a:gd name="connsiteX0" fmla="*/ 0 w 12192163"/>
              <a:gd name="connsiteY0" fmla="*/ 6288 h 587628"/>
              <a:gd name="connsiteX1" fmla="*/ 1406430 w 12192163"/>
              <a:gd name="connsiteY1" fmla="*/ 0 h 587628"/>
              <a:gd name="connsiteX2" fmla="*/ 3218752 w 12192163"/>
              <a:gd name="connsiteY2" fmla="*/ 327692 h 587628"/>
              <a:gd name="connsiteX3" fmla="*/ 12192163 w 12192163"/>
              <a:gd name="connsiteY3" fmla="*/ 333682 h 587628"/>
              <a:gd name="connsiteX4" fmla="*/ 12192000 w 12192163"/>
              <a:gd name="connsiteY4" fmla="*/ 587628 h 587628"/>
              <a:gd name="connsiteX5" fmla="*/ 0 w 12192163"/>
              <a:gd name="connsiteY5" fmla="*/ 587628 h 587628"/>
              <a:gd name="connsiteX6" fmla="*/ 0 w 12192163"/>
              <a:gd name="connsiteY6" fmla="*/ 6288 h 587628"/>
              <a:gd name="connsiteX0" fmla="*/ 0 w 12192163"/>
              <a:gd name="connsiteY0" fmla="*/ 9 h 933618"/>
              <a:gd name="connsiteX1" fmla="*/ 1406430 w 12192163"/>
              <a:gd name="connsiteY1" fmla="*/ 345990 h 933618"/>
              <a:gd name="connsiteX2" fmla="*/ 3218752 w 12192163"/>
              <a:gd name="connsiteY2" fmla="*/ 673682 h 933618"/>
              <a:gd name="connsiteX3" fmla="*/ 12192163 w 12192163"/>
              <a:gd name="connsiteY3" fmla="*/ 679672 h 933618"/>
              <a:gd name="connsiteX4" fmla="*/ 12192000 w 12192163"/>
              <a:gd name="connsiteY4" fmla="*/ 933618 h 933618"/>
              <a:gd name="connsiteX5" fmla="*/ 0 w 12192163"/>
              <a:gd name="connsiteY5" fmla="*/ 933618 h 933618"/>
              <a:gd name="connsiteX6" fmla="*/ 0 w 12192163"/>
              <a:gd name="connsiteY6" fmla="*/ 9 h 933618"/>
              <a:gd name="connsiteX0" fmla="*/ 0 w 12192163"/>
              <a:gd name="connsiteY0" fmla="*/ 0 h 933609"/>
              <a:gd name="connsiteX1" fmla="*/ 1383945 w 12192163"/>
              <a:gd name="connsiteY1" fmla="*/ 1207 h 933609"/>
              <a:gd name="connsiteX2" fmla="*/ 3218752 w 12192163"/>
              <a:gd name="connsiteY2" fmla="*/ 673673 h 933609"/>
              <a:gd name="connsiteX3" fmla="*/ 12192163 w 12192163"/>
              <a:gd name="connsiteY3" fmla="*/ 679663 h 933609"/>
              <a:gd name="connsiteX4" fmla="*/ 12192000 w 12192163"/>
              <a:gd name="connsiteY4" fmla="*/ 933609 h 933609"/>
              <a:gd name="connsiteX5" fmla="*/ 0 w 12192163"/>
              <a:gd name="connsiteY5" fmla="*/ 933609 h 933609"/>
              <a:gd name="connsiteX6" fmla="*/ 0 w 12192163"/>
              <a:gd name="connsiteY6" fmla="*/ 0 h 933609"/>
              <a:gd name="connsiteX0" fmla="*/ 0 w 12192163"/>
              <a:gd name="connsiteY0" fmla="*/ 0 h 933609"/>
              <a:gd name="connsiteX1" fmla="*/ 1383945 w 12192163"/>
              <a:gd name="connsiteY1" fmla="*/ 1207 h 933609"/>
              <a:gd name="connsiteX2" fmla="*/ 3143802 w 12192163"/>
              <a:gd name="connsiteY2" fmla="*/ 216473 h 933609"/>
              <a:gd name="connsiteX3" fmla="*/ 12192163 w 12192163"/>
              <a:gd name="connsiteY3" fmla="*/ 679663 h 933609"/>
              <a:gd name="connsiteX4" fmla="*/ 12192000 w 12192163"/>
              <a:gd name="connsiteY4" fmla="*/ 933609 h 933609"/>
              <a:gd name="connsiteX5" fmla="*/ 0 w 12192163"/>
              <a:gd name="connsiteY5" fmla="*/ 933609 h 933609"/>
              <a:gd name="connsiteX6" fmla="*/ 0 w 12192163"/>
              <a:gd name="connsiteY6" fmla="*/ 0 h 933609"/>
              <a:gd name="connsiteX0" fmla="*/ 0 w 12229638"/>
              <a:gd name="connsiteY0" fmla="*/ 0 h 933609"/>
              <a:gd name="connsiteX1" fmla="*/ 1383945 w 12229638"/>
              <a:gd name="connsiteY1" fmla="*/ 1207 h 933609"/>
              <a:gd name="connsiteX2" fmla="*/ 3143802 w 12229638"/>
              <a:gd name="connsiteY2" fmla="*/ 216473 h 933609"/>
              <a:gd name="connsiteX3" fmla="*/ 12229638 w 12229638"/>
              <a:gd name="connsiteY3" fmla="*/ 222463 h 933609"/>
              <a:gd name="connsiteX4" fmla="*/ 12192000 w 12229638"/>
              <a:gd name="connsiteY4" fmla="*/ 933609 h 933609"/>
              <a:gd name="connsiteX5" fmla="*/ 0 w 12229638"/>
              <a:gd name="connsiteY5" fmla="*/ 933609 h 933609"/>
              <a:gd name="connsiteX6" fmla="*/ 0 w 1222963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43802 w 12199658"/>
              <a:gd name="connsiteY2" fmla="*/ 216473 h 933609"/>
              <a:gd name="connsiteX3" fmla="*/ 12199658 w 12199658"/>
              <a:gd name="connsiteY3" fmla="*/ 19997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43802 w 12199658"/>
              <a:gd name="connsiteY2" fmla="*/ 216473 h 933609"/>
              <a:gd name="connsiteX3" fmla="*/ 12199658 w 12199658"/>
              <a:gd name="connsiteY3" fmla="*/ 19997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61101 w 12199658"/>
              <a:gd name="connsiteY2" fmla="*/ 293085 h 933609"/>
              <a:gd name="connsiteX3" fmla="*/ 12199658 w 12199658"/>
              <a:gd name="connsiteY3" fmla="*/ 19997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0 w 12199658"/>
              <a:gd name="connsiteY0" fmla="*/ 0 h 933609"/>
              <a:gd name="connsiteX1" fmla="*/ 1383945 w 12199658"/>
              <a:gd name="connsiteY1" fmla="*/ 1207 h 933609"/>
              <a:gd name="connsiteX2" fmla="*/ 3161101 w 12199658"/>
              <a:gd name="connsiteY2" fmla="*/ 293085 h 933609"/>
              <a:gd name="connsiteX3" fmla="*/ 12199658 w 12199658"/>
              <a:gd name="connsiteY3" fmla="*/ 291418 h 933609"/>
              <a:gd name="connsiteX4" fmla="*/ 12192000 w 12199658"/>
              <a:gd name="connsiteY4" fmla="*/ 933609 h 933609"/>
              <a:gd name="connsiteX5" fmla="*/ 0 w 12199658"/>
              <a:gd name="connsiteY5" fmla="*/ 933609 h 933609"/>
              <a:gd name="connsiteX6" fmla="*/ 0 w 12199658"/>
              <a:gd name="connsiteY6" fmla="*/ 0 h 933609"/>
              <a:gd name="connsiteX0" fmla="*/ 6531 w 12199658"/>
              <a:gd name="connsiteY0" fmla="*/ 730314 h 932403"/>
              <a:gd name="connsiteX1" fmla="*/ 1383945 w 12199658"/>
              <a:gd name="connsiteY1" fmla="*/ 1 h 932403"/>
              <a:gd name="connsiteX2" fmla="*/ 3161101 w 12199658"/>
              <a:gd name="connsiteY2" fmla="*/ 291879 h 932403"/>
              <a:gd name="connsiteX3" fmla="*/ 12199658 w 12199658"/>
              <a:gd name="connsiteY3" fmla="*/ 290212 h 932403"/>
              <a:gd name="connsiteX4" fmla="*/ 12192000 w 12199658"/>
              <a:gd name="connsiteY4" fmla="*/ 932403 h 932403"/>
              <a:gd name="connsiteX5" fmla="*/ 0 w 12199658"/>
              <a:gd name="connsiteY5" fmla="*/ 932403 h 932403"/>
              <a:gd name="connsiteX6" fmla="*/ 6531 w 12199658"/>
              <a:gd name="connsiteY6" fmla="*/ 730314 h 932403"/>
              <a:gd name="connsiteX0" fmla="*/ 6531 w 12199658"/>
              <a:gd name="connsiteY0" fmla="*/ 440102 h 642191"/>
              <a:gd name="connsiteX1" fmla="*/ 1377414 w 12199658"/>
              <a:gd name="connsiteY1" fmla="*/ 434777 h 642191"/>
              <a:gd name="connsiteX2" fmla="*/ 3161101 w 12199658"/>
              <a:gd name="connsiteY2" fmla="*/ 1667 h 642191"/>
              <a:gd name="connsiteX3" fmla="*/ 12199658 w 12199658"/>
              <a:gd name="connsiteY3" fmla="*/ 0 h 642191"/>
              <a:gd name="connsiteX4" fmla="*/ 12192000 w 12199658"/>
              <a:gd name="connsiteY4" fmla="*/ 642191 h 642191"/>
              <a:gd name="connsiteX5" fmla="*/ 0 w 12199658"/>
              <a:gd name="connsiteY5" fmla="*/ 642191 h 642191"/>
              <a:gd name="connsiteX6" fmla="*/ 6531 w 12199658"/>
              <a:gd name="connsiteY6" fmla="*/ 440102 h 642191"/>
              <a:gd name="connsiteX0" fmla="*/ 6531 w 12199658"/>
              <a:gd name="connsiteY0" fmla="*/ 440102 h 642191"/>
              <a:gd name="connsiteX1" fmla="*/ 1377414 w 12199658"/>
              <a:gd name="connsiteY1" fmla="*/ 434777 h 642191"/>
              <a:gd name="connsiteX2" fmla="*/ 3161101 w 12199658"/>
              <a:gd name="connsiteY2" fmla="*/ 1667 h 642191"/>
              <a:gd name="connsiteX3" fmla="*/ 12199658 w 12199658"/>
              <a:gd name="connsiteY3" fmla="*/ 0 h 642191"/>
              <a:gd name="connsiteX4" fmla="*/ 12192000 w 12199658"/>
              <a:gd name="connsiteY4" fmla="*/ 642191 h 642191"/>
              <a:gd name="connsiteX5" fmla="*/ 0 w 12199658"/>
              <a:gd name="connsiteY5" fmla="*/ 642191 h 642191"/>
              <a:gd name="connsiteX6" fmla="*/ 6531 w 12199658"/>
              <a:gd name="connsiteY6" fmla="*/ 440102 h 642191"/>
              <a:gd name="connsiteX0" fmla="*/ 6531 w 12199658"/>
              <a:gd name="connsiteY0" fmla="*/ 440102 h 642191"/>
              <a:gd name="connsiteX1" fmla="*/ 1377414 w 12199658"/>
              <a:gd name="connsiteY1" fmla="*/ 434777 h 642191"/>
              <a:gd name="connsiteX2" fmla="*/ 3161101 w 12199658"/>
              <a:gd name="connsiteY2" fmla="*/ 1667 h 642191"/>
              <a:gd name="connsiteX3" fmla="*/ 12199658 w 12199658"/>
              <a:gd name="connsiteY3" fmla="*/ 0 h 642191"/>
              <a:gd name="connsiteX4" fmla="*/ 12192000 w 12199658"/>
              <a:gd name="connsiteY4" fmla="*/ 642191 h 642191"/>
              <a:gd name="connsiteX5" fmla="*/ 0 w 12199658"/>
              <a:gd name="connsiteY5" fmla="*/ 642191 h 642191"/>
              <a:gd name="connsiteX6" fmla="*/ 6531 w 12199658"/>
              <a:gd name="connsiteY6" fmla="*/ 440102 h 642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9658" h="642191">
                <a:moveTo>
                  <a:pt x="6531" y="440102"/>
                </a:moveTo>
                <a:lnTo>
                  <a:pt x="1377414" y="434777"/>
                </a:lnTo>
                <a:cubicBezTo>
                  <a:pt x="2069852" y="451590"/>
                  <a:pt x="1724786" y="2153"/>
                  <a:pt x="3161101" y="1667"/>
                </a:cubicBezTo>
                <a:lnTo>
                  <a:pt x="12199658" y="0"/>
                </a:lnTo>
                <a:cubicBezTo>
                  <a:pt x="12199604" y="84649"/>
                  <a:pt x="12192054" y="557542"/>
                  <a:pt x="12192000" y="642191"/>
                </a:cubicBezTo>
                <a:lnTo>
                  <a:pt x="0" y="642191"/>
                </a:lnTo>
                <a:lnTo>
                  <a:pt x="6531" y="440102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8" name="Picture 10">
            <a:extLst>
              <a:ext uri="{FF2B5EF4-FFF2-40B4-BE49-F238E27FC236}">
                <a16:creationId xmlns:a16="http://schemas.microsoft.com/office/drawing/2014/main" id="{FD730F35-F6B2-481A-B743-C402B37125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rcRect/>
          <a:stretch/>
        </p:blipFill>
        <p:spPr bwMode="auto">
          <a:xfrm>
            <a:off x="11695841" y="6428255"/>
            <a:ext cx="360363" cy="360363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9" name="Agrupar 23">
            <a:extLst>
              <a:ext uri="{FF2B5EF4-FFF2-40B4-BE49-F238E27FC236}">
                <a16:creationId xmlns:a16="http://schemas.microsoft.com/office/drawing/2014/main" id="{DC5DFECA-A828-4F05-80A6-BE5BD2609180}"/>
              </a:ext>
            </a:extLst>
          </p:cNvPr>
          <p:cNvGrpSpPr/>
          <p:nvPr userDrawn="1"/>
        </p:nvGrpSpPr>
        <p:grpSpPr>
          <a:xfrm>
            <a:off x="94340" y="6438016"/>
            <a:ext cx="1487720" cy="350602"/>
            <a:chOff x="94340" y="6392029"/>
            <a:chExt cx="1487720" cy="350602"/>
          </a:xfrm>
        </p:grpSpPr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FEDBB063-544E-4119-93CD-B9E8EEF775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2ECA2AEB-25FD-4F09-B52C-963A2CBE08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32" name="Oval 27">
              <a:extLst>
                <a:ext uri="{FF2B5EF4-FFF2-40B4-BE49-F238E27FC236}">
                  <a16:creationId xmlns:a16="http://schemas.microsoft.com/office/drawing/2014/main" id="{8410C6EE-DB0B-4B53-9017-9837DCEBD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33" name="Freeform 14">
              <a:extLst>
                <a:ext uri="{FF2B5EF4-FFF2-40B4-BE49-F238E27FC236}">
                  <a16:creationId xmlns:a16="http://schemas.microsoft.com/office/drawing/2014/main" id="{412D72A5-1426-4049-9B78-649D0AF4F2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88FC5E3E-79AB-49DE-969C-4EFB9D6379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  <p:pic>
        <p:nvPicPr>
          <p:cNvPr id="35" name="Imagem 34" descr="Texto, Logotipo&#10;&#10;Descrição gerada automaticamente">
            <a:extLst>
              <a:ext uri="{FF2B5EF4-FFF2-40B4-BE49-F238E27FC236}">
                <a16:creationId xmlns:a16="http://schemas.microsoft.com/office/drawing/2014/main" id="{A86F4160-D7F7-45FC-899A-56288D46D2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402" y="190048"/>
            <a:ext cx="1487783" cy="37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1673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E523-CCBE-734F-AB9D-F180ABBC5C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C581F4-9942-204C-A1C9-4DF056ABD4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15D68C-28F2-6845-AD00-C0F52F62963A}" type="datetimeFigureOut">
              <a:rPr lang="pt-BR" smtClean="0"/>
              <a:t>09/07/2025</a:t>
            </a:fld>
            <a:endParaRPr lang="pt-B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9D823E-DFC9-4943-9AB0-B4321059D0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0BE087-49A8-8C46-A8F0-6FB4353234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5DB5F9-6B41-F244-8618-E38A9C4C98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43549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2D36A79-DCAF-EB4F-BFA8-D4B7F3C6C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15D68C-28F2-6845-AD00-C0F52F62963A}" type="datetimeFigureOut">
              <a:rPr lang="pt-BR" smtClean="0"/>
              <a:t>09/07/2025</a:t>
            </a:fld>
            <a:endParaRPr lang="pt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73F383-0398-6141-87EC-A443464F6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717F5A-41BB-984D-96B0-0A54E6F82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5DB5F9-6B41-F244-8618-E38A9C4C98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569907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84615A1F-DB0A-4D79-B9A6-49041E1167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136" y="220344"/>
            <a:ext cx="10515600" cy="707799"/>
          </a:xfrm>
          <a:prstGeom prst="rect">
            <a:avLst/>
          </a:prstGeom>
        </p:spPr>
        <p:txBody>
          <a:bodyPr anchor="t">
            <a:normAutofit fontScale="90000"/>
          </a:bodyPr>
          <a:lstStyle>
            <a:lvl1pPr algn="l">
              <a:defRPr/>
            </a:lvl1pPr>
          </a:lstStyle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2700" b="1" i="0" u="none" strike="noStrike" cap="none" normalizeH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charset="0"/>
              </a:rPr>
              <a:t>Título</a:t>
            </a:r>
            <a:br>
              <a:rPr kumimoji="0" lang="pt-BR" sz="2200" b="1" i="0" u="none" strike="noStrike" cap="none" normalizeH="0" noProof="0">
                <a:ln>
                  <a:noFill/>
                </a:ln>
                <a:solidFill>
                  <a:srgbClr val="FABD25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charset="0"/>
              </a:rPr>
            </a:br>
            <a:r>
              <a:rPr kumimoji="0" lang="pt-BR" sz="2200" b="1" i="0" u="none" strike="noStrike" cap="none" normalizeH="0" noProof="0">
                <a:ln>
                  <a:noFill/>
                </a:ln>
                <a:solidFill>
                  <a:srgbClr val="FABD25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charset="0"/>
              </a:rPr>
              <a:t>—</a:t>
            </a:r>
            <a:br>
              <a:rPr kumimoji="0" lang="pt-BR" sz="4400" b="1" i="0" u="none" strike="noStrike" kern="1200" cap="none" spc="0" normalizeH="0" baseline="0" noProof="0">
                <a:ln>
                  <a:noFill/>
                </a:ln>
                <a:solidFill>
                  <a:srgbClr val="FABD25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charset="0"/>
              </a:rPr>
            </a:br>
            <a:endParaRPr lang="pt-BR"/>
          </a:p>
        </p:txBody>
      </p:sp>
      <p:sp>
        <p:nvSpPr>
          <p:cNvPr id="8" name="Retângulo 3">
            <a:extLst>
              <a:ext uri="{FF2B5EF4-FFF2-40B4-BE49-F238E27FC236}">
                <a16:creationId xmlns:a16="http://schemas.microsoft.com/office/drawing/2014/main" id="{D531B4ED-166D-47E9-9196-2CD6B4DA79B8}"/>
              </a:ext>
            </a:extLst>
          </p:cNvPr>
          <p:cNvSpPr/>
          <p:nvPr userDrawn="1"/>
        </p:nvSpPr>
        <p:spPr>
          <a:xfrm>
            <a:off x="0" y="6270372"/>
            <a:ext cx="12192163" cy="587628"/>
          </a:xfrm>
          <a:custGeom>
            <a:avLst/>
            <a:gdLst>
              <a:gd name="connsiteX0" fmla="*/ 0 w 12192000"/>
              <a:gd name="connsiteY0" fmla="*/ 0 h 581340"/>
              <a:gd name="connsiteX1" fmla="*/ 12192000 w 12192000"/>
              <a:gd name="connsiteY1" fmla="*/ 0 h 581340"/>
              <a:gd name="connsiteX2" fmla="*/ 12192000 w 12192000"/>
              <a:gd name="connsiteY2" fmla="*/ 581340 h 581340"/>
              <a:gd name="connsiteX3" fmla="*/ 0 w 12192000"/>
              <a:gd name="connsiteY3" fmla="*/ 581340 h 581340"/>
              <a:gd name="connsiteX4" fmla="*/ 0 w 12192000"/>
              <a:gd name="connsiteY4" fmla="*/ 0 h 581340"/>
              <a:gd name="connsiteX0" fmla="*/ 0 w 12192000"/>
              <a:gd name="connsiteY0" fmla="*/ 10771 h 592111"/>
              <a:gd name="connsiteX1" fmla="*/ 1971207 w 12192000"/>
              <a:gd name="connsiteY1" fmla="*/ 0 h 592111"/>
              <a:gd name="connsiteX2" fmla="*/ 12192000 w 12192000"/>
              <a:gd name="connsiteY2" fmla="*/ 10771 h 592111"/>
              <a:gd name="connsiteX3" fmla="*/ 12192000 w 12192000"/>
              <a:gd name="connsiteY3" fmla="*/ 592111 h 592111"/>
              <a:gd name="connsiteX4" fmla="*/ 0 w 12192000"/>
              <a:gd name="connsiteY4" fmla="*/ 592111 h 592111"/>
              <a:gd name="connsiteX5" fmla="*/ 0 w 12192000"/>
              <a:gd name="connsiteY5" fmla="*/ 10771 h 592111"/>
              <a:gd name="connsiteX0" fmla="*/ 0 w 12192000"/>
              <a:gd name="connsiteY0" fmla="*/ 18266 h 599606"/>
              <a:gd name="connsiteX1" fmla="*/ 1971207 w 12192000"/>
              <a:gd name="connsiteY1" fmla="*/ 7495 h 599606"/>
              <a:gd name="connsiteX2" fmla="*/ 3904938 w 12192000"/>
              <a:gd name="connsiteY2" fmla="*/ 0 h 599606"/>
              <a:gd name="connsiteX3" fmla="*/ 12192000 w 12192000"/>
              <a:gd name="connsiteY3" fmla="*/ 18266 h 599606"/>
              <a:gd name="connsiteX4" fmla="*/ 12192000 w 12192000"/>
              <a:gd name="connsiteY4" fmla="*/ 599606 h 599606"/>
              <a:gd name="connsiteX5" fmla="*/ 0 w 12192000"/>
              <a:gd name="connsiteY5" fmla="*/ 599606 h 599606"/>
              <a:gd name="connsiteX6" fmla="*/ 0 w 12192000"/>
              <a:gd name="connsiteY6" fmla="*/ 18266 h 599606"/>
              <a:gd name="connsiteX0" fmla="*/ 0 w 12206991"/>
              <a:gd name="connsiteY0" fmla="*/ 18266 h 599606"/>
              <a:gd name="connsiteX1" fmla="*/ 1971207 w 12206991"/>
              <a:gd name="connsiteY1" fmla="*/ 7495 h 599606"/>
              <a:gd name="connsiteX2" fmla="*/ 3904938 w 12206991"/>
              <a:gd name="connsiteY2" fmla="*/ 0 h 599606"/>
              <a:gd name="connsiteX3" fmla="*/ 12206991 w 12206991"/>
              <a:gd name="connsiteY3" fmla="*/ 355545 h 599606"/>
              <a:gd name="connsiteX4" fmla="*/ 12192000 w 12206991"/>
              <a:gd name="connsiteY4" fmla="*/ 599606 h 599606"/>
              <a:gd name="connsiteX5" fmla="*/ 0 w 12206991"/>
              <a:gd name="connsiteY5" fmla="*/ 599606 h 599606"/>
              <a:gd name="connsiteX6" fmla="*/ 0 w 12206991"/>
              <a:gd name="connsiteY6" fmla="*/ 18266 h 599606"/>
              <a:gd name="connsiteX0" fmla="*/ 0 w 12206991"/>
              <a:gd name="connsiteY0" fmla="*/ 10771 h 592111"/>
              <a:gd name="connsiteX1" fmla="*/ 1971207 w 12206991"/>
              <a:gd name="connsiteY1" fmla="*/ 0 h 592111"/>
              <a:gd name="connsiteX2" fmla="*/ 3927423 w 12206991"/>
              <a:gd name="connsiteY2" fmla="*/ 322289 h 592111"/>
              <a:gd name="connsiteX3" fmla="*/ 12206991 w 12206991"/>
              <a:gd name="connsiteY3" fmla="*/ 348050 h 592111"/>
              <a:gd name="connsiteX4" fmla="*/ 12192000 w 12206991"/>
              <a:gd name="connsiteY4" fmla="*/ 592111 h 592111"/>
              <a:gd name="connsiteX5" fmla="*/ 0 w 12206991"/>
              <a:gd name="connsiteY5" fmla="*/ 592111 h 592111"/>
              <a:gd name="connsiteX6" fmla="*/ 0 w 12206991"/>
              <a:gd name="connsiteY6" fmla="*/ 10771 h 592111"/>
              <a:gd name="connsiteX0" fmla="*/ 0 w 12206991"/>
              <a:gd name="connsiteY0" fmla="*/ 10771 h 592111"/>
              <a:gd name="connsiteX1" fmla="*/ 1971207 w 12206991"/>
              <a:gd name="connsiteY1" fmla="*/ 0 h 592111"/>
              <a:gd name="connsiteX2" fmla="*/ 3927423 w 12206991"/>
              <a:gd name="connsiteY2" fmla="*/ 322289 h 592111"/>
              <a:gd name="connsiteX3" fmla="*/ 12206991 w 12206991"/>
              <a:gd name="connsiteY3" fmla="*/ 348050 h 592111"/>
              <a:gd name="connsiteX4" fmla="*/ 12192000 w 12206991"/>
              <a:gd name="connsiteY4" fmla="*/ 592111 h 592111"/>
              <a:gd name="connsiteX5" fmla="*/ 0 w 12206991"/>
              <a:gd name="connsiteY5" fmla="*/ 592111 h 592111"/>
              <a:gd name="connsiteX6" fmla="*/ 0 w 12206991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7423 w 12192163"/>
              <a:gd name="connsiteY2" fmla="*/ 322289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10771 h 592111"/>
              <a:gd name="connsiteX1" fmla="*/ 1971207 w 12192163"/>
              <a:gd name="connsiteY1" fmla="*/ 0 h 592111"/>
              <a:gd name="connsiteX2" fmla="*/ 3922481 w 12192163"/>
              <a:gd name="connsiteY2" fmla="*/ 332175 h 592111"/>
              <a:gd name="connsiteX3" fmla="*/ 12192163 w 12192163"/>
              <a:gd name="connsiteY3" fmla="*/ 338165 h 592111"/>
              <a:gd name="connsiteX4" fmla="*/ 12192000 w 12192163"/>
              <a:gd name="connsiteY4" fmla="*/ 592111 h 592111"/>
              <a:gd name="connsiteX5" fmla="*/ 0 w 12192163"/>
              <a:gd name="connsiteY5" fmla="*/ 592111 h 592111"/>
              <a:gd name="connsiteX6" fmla="*/ 0 w 12192163"/>
              <a:gd name="connsiteY6" fmla="*/ 10771 h 592111"/>
              <a:gd name="connsiteX0" fmla="*/ 0 w 12192163"/>
              <a:gd name="connsiteY0" fmla="*/ 6288 h 587628"/>
              <a:gd name="connsiteX1" fmla="*/ 1406430 w 12192163"/>
              <a:gd name="connsiteY1" fmla="*/ 0 h 587628"/>
              <a:gd name="connsiteX2" fmla="*/ 3922481 w 12192163"/>
              <a:gd name="connsiteY2" fmla="*/ 327692 h 587628"/>
              <a:gd name="connsiteX3" fmla="*/ 12192163 w 12192163"/>
              <a:gd name="connsiteY3" fmla="*/ 333682 h 587628"/>
              <a:gd name="connsiteX4" fmla="*/ 12192000 w 12192163"/>
              <a:gd name="connsiteY4" fmla="*/ 587628 h 587628"/>
              <a:gd name="connsiteX5" fmla="*/ 0 w 12192163"/>
              <a:gd name="connsiteY5" fmla="*/ 587628 h 587628"/>
              <a:gd name="connsiteX6" fmla="*/ 0 w 12192163"/>
              <a:gd name="connsiteY6" fmla="*/ 6288 h 587628"/>
              <a:gd name="connsiteX0" fmla="*/ 0 w 12192163"/>
              <a:gd name="connsiteY0" fmla="*/ 6288 h 587628"/>
              <a:gd name="connsiteX1" fmla="*/ 1406430 w 12192163"/>
              <a:gd name="connsiteY1" fmla="*/ 0 h 587628"/>
              <a:gd name="connsiteX2" fmla="*/ 3218752 w 12192163"/>
              <a:gd name="connsiteY2" fmla="*/ 327692 h 587628"/>
              <a:gd name="connsiteX3" fmla="*/ 12192163 w 12192163"/>
              <a:gd name="connsiteY3" fmla="*/ 333682 h 587628"/>
              <a:gd name="connsiteX4" fmla="*/ 12192000 w 12192163"/>
              <a:gd name="connsiteY4" fmla="*/ 587628 h 587628"/>
              <a:gd name="connsiteX5" fmla="*/ 0 w 12192163"/>
              <a:gd name="connsiteY5" fmla="*/ 587628 h 587628"/>
              <a:gd name="connsiteX6" fmla="*/ 0 w 12192163"/>
              <a:gd name="connsiteY6" fmla="*/ 6288 h 587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163" h="587628">
                <a:moveTo>
                  <a:pt x="0" y="6288"/>
                </a:moveTo>
                <a:lnTo>
                  <a:pt x="1406430" y="0"/>
                </a:lnTo>
                <a:cubicBezTo>
                  <a:pt x="2098868" y="16813"/>
                  <a:pt x="1782437" y="328178"/>
                  <a:pt x="3218752" y="327692"/>
                </a:cubicBezTo>
                <a:lnTo>
                  <a:pt x="12192163" y="333682"/>
                </a:lnTo>
                <a:cubicBezTo>
                  <a:pt x="12192109" y="418331"/>
                  <a:pt x="12192054" y="502979"/>
                  <a:pt x="12192000" y="587628"/>
                </a:cubicBezTo>
                <a:lnTo>
                  <a:pt x="0" y="587628"/>
                </a:lnTo>
                <a:lnTo>
                  <a:pt x="0" y="6288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" name="Imagem 2">
            <a:extLst>
              <a:ext uri="{FF2B5EF4-FFF2-40B4-BE49-F238E27FC236}">
                <a16:creationId xmlns:a16="http://schemas.microsoft.com/office/drawing/2014/main" id="{1A48CF29-FFE6-42CC-B910-B853565B1B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9116" y="149337"/>
            <a:ext cx="1489367" cy="431576"/>
          </a:xfrm>
          <a:prstGeom prst="rect">
            <a:avLst/>
          </a:prstGeom>
        </p:spPr>
      </p:pic>
      <p:grpSp>
        <p:nvGrpSpPr>
          <p:cNvPr id="10" name="Agrupar 9">
            <a:extLst>
              <a:ext uri="{FF2B5EF4-FFF2-40B4-BE49-F238E27FC236}">
                <a16:creationId xmlns:a16="http://schemas.microsoft.com/office/drawing/2014/main" id="{1ECCA64B-1270-43EC-A228-F031067601B4}"/>
              </a:ext>
            </a:extLst>
          </p:cNvPr>
          <p:cNvGrpSpPr/>
          <p:nvPr userDrawn="1"/>
        </p:nvGrpSpPr>
        <p:grpSpPr>
          <a:xfrm>
            <a:off x="94340" y="6392029"/>
            <a:ext cx="1487720" cy="350602"/>
            <a:chOff x="94340" y="6392029"/>
            <a:chExt cx="1487720" cy="350602"/>
          </a:xfrm>
        </p:grpSpPr>
        <p:sp>
          <p:nvSpPr>
            <p:cNvPr id="11" name="Freeform 25">
              <a:extLst>
                <a:ext uri="{FF2B5EF4-FFF2-40B4-BE49-F238E27FC236}">
                  <a16:creationId xmlns:a16="http://schemas.microsoft.com/office/drawing/2014/main" id="{15A70B85-C927-4000-AACC-57C4E7A6D6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53" y="6480604"/>
              <a:ext cx="529839" cy="231145"/>
            </a:xfrm>
            <a:custGeom>
              <a:avLst/>
              <a:gdLst>
                <a:gd name="T0" fmla="*/ 0 w 2770"/>
                <a:gd name="T1" fmla="*/ 1198 h 1198"/>
                <a:gd name="T2" fmla="*/ 232 w 2770"/>
                <a:gd name="T3" fmla="*/ 0 h 1198"/>
                <a:gd name="T4" fmla="*/ 879 w 2770"/>
                <a:gd name="T5" fmla="*/ 0 h 1198"/>
                <a:gd name="T6" fmla="*/ 852 w 2770"/>
                <a:gd name="T7" fmla="*/ 133 h 1198"/>
                <a:gd name="T8" fmla="*/ 361 w 2770"/>
                <a:gd name="T9" fmla="*/ 133 h 1198"/>
                <a:gd name="T10" fmla="*/ 287 w 2770"/>
                <a:gd name="T11" fmla="*/ 515 h 1198"/>
                <a:gd name="T12" fmla="*/ 731 w 2770"/>
                <a:gd name="T13" fmla="*/ 515 h 1198"/>
                <a:gd name="T14" fmla="*/ 705 w 2770"/>
                <a:gd name="T15" fmla="*/ 648 h 1198"/>
                <a:gd name="T16" fmla="*/ 263 w 2770"/>
                <a:gd name="T17" fmla="*/ 648 h 1198"/>
                <a:gd name="T18" fmla="*/ 182 w 2770"/>
                <a:gd name="T19" fmla="*/ 1065 h 1198"/>
                <a:gd name="T20" fmla="*/ 690 w 2770"/>
                <a:gd name="T21" fmla="*/ 1065 h 1198"/>
                <a:gd name="T22" fmla="*/ 663 w 2770"/>
                <a:gd name="T23" fmla="*/ 1198 h 1198"/>
                <a:gd name="T24" fmla="*/ 0 w 2770"/>
                <a:gd name="T25" fmla="*/ 1198 h 1198"/>
                <a:gd name="T26" fmla="*/ 810 w 2770"/>
                <a:gd name="T27" fmla="*/ 1198 h 1198"/>
                <a:gd name="T28" fmla="*/ 1291 w 2770"/>
                <a:gd name="T29" fmla="*/ 569 h 1198"/>
                <a:gd name="T30" fmla="*/ 1062 w 2770"/>
                <a:gd name="T31" fmla="*/ 0 h 1198"/>
                <a:gd name="T32" fmla="*/ 1232 w 2770"/>
                <a:gd name="T33" fmla="*/ 0 h 1198"/>
                <a:gd name="T34" fmla="*/ 1394 w 2770"/>
                <a:gd name="T35" fmla="*/ 445 h 1198"/>
                <a:gd name="T36" fmla="*/ 1727 w 2770"/>
                <a:gd name="T37" fmla="*/ 0 h 1198"/>
                <a:gd name="T38" fmla="*/ 1890 w 2770"/>
                <a:gd name="T39" fmla="*/ 0 h 1198"/>
                <a:gd name="T40" fmla="*/ 1453 w 2770"/>
                <a:gd name="T41" fmla="*/ 569 h 1198"/>
                <a:gd name="T42" fmla="*/ 1703 w 2770"/>
                <a:gd name="T43" fmla="*/ 1198 h 1198"/>
                <a:gd name="T44" fmla="*/ 1532 w 2770"/>
                <a:gd name="T45" fmla="*/ 1198 h 1198"/>
                <a:gd name="T46" fmla="*/ 1348 w 2770"/>
                <a:gd name="T47" fmla="*/ 693 h 1198"/>
                <a:gd name="T48" fmla="*/ 972 w 2770"/>
                <a:gd name="T49" fmla="*/ 1198 h 1198"/>
                <a:gd name="T50" fmla="*/ 810 w 2770"/>
                <a:gd name="T51" fmla="*/ 1198 h 1198"/>
                <a:gd name="T52" fmla="*/ 2143 w 2770"/>
                <a:gd name="T53" fmla="*/ 594 h 1198"/>
                <a:gd name="T54" fmla="*/ 2341 w 2770"/>
                <a:gd name="T55" fmla="*/ 594 h 1198"/>
                <a:gd name="T56" fmla="*/ 2516 w 2770"/>
                <a:gd name="T57" fmla="*/ 546 h 1198"/>
                <a:gd name="T58" fmla="*/ 2604 w 2770"/>
                <a:gd name="T59" fmla="*/ 386 h 1198"/>
                <a:gd name="T60" fmla="*/ 2610 w 2770"/>
                <a:gd name="T61" fmla="*/ 347 h 1198"/>
                <a:gd name="T62" fmla="*/ 2612 w 2770"/>
                <a:gd name="T63" fmla="*/ 310 h 1198"/>
                <a:gd name="T64" fmla="*/ 2561 w 2770"/>
                <a:gd name="T65" fmla="*/ 177 h 1198"/>
                <a:gd name="T66" fmla="*/ 2397 w 2770"/>
                <a:gd name="T67" fmla="*/ 129 h 1198"/>
                <a:gd name="T68" fmla="*/ 2231 w 2770"/>
                <a:gd name="T69" fmla="*/ 129 h 1198"/>
                <a:gd name="T70" fmla="*/ 2143 w 2770"/>
                <a:gd name="T71" fmla="*/ 594 h 1198"/>
                <a:gd name="T72" fmla="*/ 1867 w 2770"/>
                <a:gd name="T73" fmla="*/ 1198 h 1198"/>
                <a:gd name="T74" fmla="*/ 2098 w 2770"/>
                <a:gd name="T75" fmla="*/ 0 h 1198"/>
                <a:gd name="T76" fmla="*/ 2435 w 2770"/>
                <a:gd name="T77" fmla="*/ 0 h 1198"/>
                <a:gd name="T78" fmla="*/ 2685 w 2770"/>
                <a:gd name="T79" fmla="*/ 82 h 1198"/>
                <a:gd name="T80" fmla="*/ 2770 w 2770"/>
                <a:gd name="T81" fmla="*/ 302 h 1198"/>
                <a:gd name="T82" fmla="*/ 2767 w 2770"/>
                <a:gd name="T83" fmla="*/ 344 h 1198"/>
                <a:gd name="T84" fmla="*/ 2762 w 2770"/>
                <a:gd name="T85" fmla="*/ 387 h 1198"/>
                <a:gd name="T86" fmla="*/ 2704 w 2770"/>
                <a:gd name="T87" fmla="*/ 545 h 1198"/>
                <a:gd name="T88" fmla="*/ 2605 w 2770"/>
                <a:gd name="T89" fmla="*/ 648 h 1198"/>
                <a:gd name="T90" fmla="*/ 2475 w 2770"/>
                <a:gd name="T91" fmla="*/ 705 h 1198"/>
                <a:gd name="T92" fmla="*/ 2327 w 2770"/>
                <a:gd name="T93" fmla="*/ 722 h 1198"/>
                <a:gd name="T94" fmla="*/ 2116 w 2770"/>
                <a:gd name="T95" fmla="*/ 722 h 1198"/>
                <a:gd name="T96" fmla="*/ 2025 w 2770"/>
                <a:gd name="T97" fmla="*/ 1198 h 1198"/>
                <a:gd name="T98" fmla="*/ 1867 w 2770"/>
                <a:gd name="T9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0" h="1198">
                  <a:moveTo>
                    <a:pt x="0" y="1198"/>
                  </a:moveTo>
                  <a:lnTo>
                    <a:pt x="232" y="0"/>
                  </a:lnTo>
                  <a:lnTo>
                    <a:pt x="879" y="0"/>
                  </a:lnTo>
                  <a:lnTo>
                    <a:pt x="852" y="133"/>
                  </a:lnTo>
                  <a:lnTo>
                    <a:pt x="361" y="133"/>
                  </a:lnTo>
                  <a:lnTo>
                    <a:pt x="287" y="515"/>
                  </a:lnTo>
                  <a:lnTo>
                    <a:pt x="731" y="515"/>
                  </a:lnTo>
                  <a:lnTo>
                    <a:pt x="705" y="648"/>
                  </a:lnTo>
                  <a:lnTo>
                    <a:pt x="263" y="648"/>
                  </a:lnTo>
                  <a:lnTo>
                    <a:pt x="182" y="1065"/>
                  </a:lnTo>
                  <a:lnTo>
                    <a:pt x="690" y="1065"/>
                  </a:lnTo>
                  <a:lnTo>
                    <a:pt x="663" y="1198"/>
                  </a:lnTo>
                  <a:lnTo>
                    <a:pt x="0" y="1198"/>
                  </a:lnTo>
                  <a:close/>
                  <a:moveTo>
                    <a:pt x="810" y="1198"/>
                  </a:moveTo>
                  <a:lnTo>
                    <a:pt x="1291" y="569"/>
                  </a:lnTo>
                  <a:lnTo>
                    <a:pt x="1062" y="0"/>
                  </a:lnTo>
                  <a:lnTo>
                    <a:pt x="1232" y="0"/>
                  </a:lnTo>
                  <a:lnTo>
                    <a:pt x="1394" y="445"/>
                  </a:lnTo>
                  <a:lnTo>
                    <a:pt x="1727" y="0"/>
                  </a:lnTo>
                  <a:lnTo>
                    <a:pt x="1890" y="0"/>
                  </a:lnTo>
                  <a:lnTo>
                    <a:pt x="1453" y="569"/>
                  </a:lnTo>
                  <a:lnTo>
                    <a:pt x="1703" y="1198"/>
                  </a:lnTo>
                  <a:lnTo>
                    <a:pt x="1532" y="1198"/>
                  </a:lnTo>
                  <a:lnTo>
                    <a:pt x="1348" y="693"/>
                  </a:lnTo>
                  <a:lnTo>
                    <a:pt x="972" y="1198"/>
                  </a:lnTo>
                  <a:lnTo>
                    <a:pt x="810" y="1198"/>
                  </a:lnTo>
                  <a:close/>
                  <a:moveTo>
                    <a:pt x="2143" y="594"/>
                  </a:moveTo>
                  <a:lnTo>
                    <a:pt x="2341" y="594"/>
                  </a:lnTo>
                  <a:cubicBezTo>
                    <a:pt x="2415" y="594"/>
                    <a:pt x="2473" y="578"/>
                    <a:pt x="2516" y="546"/>
                  </a:cubicBezTo>
                  <a:cubicBezTo>
                    <a:pt x="2560" y="515"/>
                    <a:pt x="2589" y="461"/>
                    <a:pt x="2604" y="386"/>
                  </a:cubicBezTo>
                  <a:cubicBezTo>
                    <a:pt x="2606" y="372"/>
                    <a:pt x="2608" y="360"/>
                    <a:pt x="2610" y="347"/>
                  </a:cubicBezTo>
                  <a:cubicBezTo>
                    <a:pt x="2611" y="334"/>
                    <a:pt x="2612" y="322"/>
                    <a:pt x="2612" y="310"/>
                  </a:cubicBezTo>
                  <a:cubicBezTo>
                    <a:pt x="2612" y="253"/>
                    <a:pt x="2595" y="209"/>
                    <a:pt x="2561" y="177"/>
                  </a:cubicBezTo>
                  <a:cubicBezTo>
                    <a:pt x="2526" y="145"/>
                    <a:pt x="2472" y="129"/>
                    <a:pt x="2397" y="129"/>
                  </a:cubicBezTo>
                  <a:lnTo>
                    <a:pt x="2231" y="129"/>
                  </a:lnTo>
                  <a:lnTo>
                    <a:pt x="2143" y="594"/>
                  </a:lnTo>
                  <a:close/>
                  <a:moveTo>
                    <a:pt x="1867" y="1198"/>
                  </a:moveTo>
                  <a:lnTo>
                    <a:pt x="2098" y="0"/>
                  </a:lnTo>
                  <a:lnTo>
                    <a:pt x="2435" y="0"/>
                  </a:lnTo>
                  <a:cubicBezTo>
                    <a:pt x="2544" y="0"/>
                    <a:pt x="2628" y="27"/>
                    <a:pt x="2685" y="82"/>
                  </a:cubicBezTo>
                  <a:cubicBezTo>
                    <a:pt x="2741" y="137"/>
                    <a:pt x="2770" y="210"/>
                    <a:pt x="2770" y="302"/>
                  </a:cubicBezTo>
                  <a:cubicBezTo>
                    <a:pt x="2770" y="316"/>
                    <a:pt x="2769" y="330"/>
                    <a:pt x="2767" y="344"/>
                  </a:cubicBezTo>
                  <a:cubicBezTo>
                    <a:pt x="2766" y="357"/>
                    <a:pt x="2764" y="372"/>
                    <a:pt x="2762" y="387"/>
                  </a:cubicBezTo>
                  <a:cubicBezTo>
                    <a:pt x="2751" y="450"/>
                    <a:pt x="2732" y="502"/>
                    <a:pt x="2704" y="545"/>
                  </a:cubicBezTo>
                  <a:cubicBezTo>
                    <a:pt x="2677" y="588"/>
                    <a:pt x="2644" y="622"/>
                    <a:pt x="2605" y="648"/>
                  </a:cubicBezTo>
                  <a:cubicBezTo>
                    <a:pt x="2566" y="675"/>
                    <a:pt x="2523" y="693"/>
                    <a:pt x="2475" y="705"/>
                  </a:cubicBezTo>
                  <a:cubicBezTo>
                    <a:pt x="2428" y="716"/>
                    <a:pt x="2378" y="722"/>
                    <a:pt x="2327" y="722"/>
                  </a:cubicBezTo>
                  <a:lnTo>
                    <a:pt x="2116" y="722"/>
                  </a:lnTo>
                  <a:lnTo>
                    <a:pt x="2025" y="1198"/>
                  </a:lnTo>
                  <a:lnTo>
                    <a:pt x="1867" y="11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12" name="Freeform 26">
              <a:extLst>
                <a:ext uri="{FF2B5EF4-FFF2-40B4-BE49-F238E27FC236}">
                  <a16:creationId xmlns:a16="http://schemas.microsoft.com/office/drawing/2014/main" id="{DBF38032-F349-4927-B93D-8C215A0440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801" y="6480604"/>
              <a:ext cx="467259" cy="234519"/>
            </a:xfrm>
            <a:custGeom>
              <a:avLst/>
              <a:gdLst>
                <a:gd name="T0" fmla="*/ 270 w 2440"/>
                <a:gd name="T1" fmla="*/ 282 h 1216"/>
                <a:gd name="T2" fmla="*/ 41 w 2440"/>
                <a:gd name="T3" fmla="*/ 121 h 1216"/>
                <a:gd name="T4" fmla="*/ 364 w 2440"/>
                <a:gd name="T5" fmla="*/ 28 h 1216"/>
                <a:gd name="T6" fmla="*/ 604 w 2440"/>
                <a:gd name="T7" fmla="*/ 15 h 1216"/>
                <a:gd name="T8" fmla="*/ 91 w 2440"/>
                <a:gd name="T9" fmla="*/ 1198 h 1216"/>
                <a:gd name="T10" fmla="*/ 815 w 2440"/>
                <a:gd name="T11" fmla="*/ 1107 h 1216"/>
                <a:gd name="T12" fmla="*/ 751 w 2440"/>
                <a:gd name="T13" fmla="*/ 847 h 1216"/>
                <a:gd name="T14" fmla="*/ 769 w 2440"/>
                <a:gd name="T15" fmla="*/ 633 h 1216"/>
                <a:gd name="T16" fmla="*/ 942 w 2440"/>
                <a:gd name="T17" fmla="*/ 145 h 1216"/>
                <a:gd name="T18" fmla="*/ 1250 w 2440"/>
                <a:gd name="T19" fmla="*/ 0 h 1216"/>
                <a:gd name="T20" fmla="*/ 1500 w 2440"/>
                <a:gd name="T21" fmla="*/ 111 h 1216"/>
                <a:gd name="T22" fmla="*/ 1563 w 2440"/>
                <a:gd name="T23" fmla="*/ 371 h 1216"/>
                <a:gd name="T24" fmla="*/ 1545 w 2440"/>
                <a:gd name="T25" fmla="*/ 583 h 1216"/>
                <a:gd name="T26" fmla="*/ 1367 w 2440"/>
                <a:gd name="T27" fmla="*/ 1078 h 1216"/>
                <a:gd name="T28" fmla="*/ 1064 w 2440"/>
                <a:gd name="T29" fmla="*/ 1216 h 1216"/>
                <a:gd name="T30" fmla="*/ 1033 w 2440"/>
                <a:gd name="T31" fmla="*/ 944 h 1216"/>
                <a:gd name="T32" fmla="*/ 1147 w 2440"/>
                <a:gd name="T33" fmla="*/ 954 h 1216"/>
                <a:gd name="T34" fmla="*/ 1226 w 2440"/>
                <a:gd name="T35" fmla="*/ 789 h 1216"/>
                <a:gd name="T36" fmla="*/ 1289 w 2440"/>
                <a:gd name="T37" fmla="*/ 463 h 1216"/>
                <a:gd name="T38" fmla="*/ 1278 w 2440"/>
                <a:gd name="T39" fmla="*/ 273 h 1216"/>
                <a:gd name="T40" fmla="*/ 1164 w 2440"/>
                <a:gd name="T41" fmla="*/ 259 h 1216"/>
                <a:gd name="T42" fmla="*/ 1087 w 2440"/>
                <a:gd name="T43" fmla="*/ 421 h 1216"/>
                <a:gd name="T44" fmla="*/ 1024 w 2440"/>
                <a:gd name="T45" fmla="*/ 755 h 1216"/>
                <a:gd name="T46" fmla="*/ 1033 w 2440"/>
                <a:gd name="T47" fmla="*/ 944 h 1216"/>
                <a:gd name="T48" fmla="*/ 1691 w 2440"/>
                <a:gd name="T49" fmla="*/ 1107 h 1216"/>
                <a:gd name="T50" fmla="*/ 1627 w 2440"/>
                <a:gd name="T51" fmla="*/ 847 h 1216"/>
                <a:gd name="T52" fmla="*/ 1645 w 2440"/>
                <a:gd name="T53" fmla="*/ 633 h 1216"/>
                <a:gd name="T54" fmla="*/ 1819 w 2440"/>
                <a:gd name="T55" fmla="*/ 145 h 1216"/>
                <a:gd name="T56" fmla="*/ 2126 w 2440"/>
                <a:gd name="T57" fmla="*/ 0 h 1216"/>
                <a:gd name="T58" fmla="*/ 2377 w 2440"/>
                <a:gd name="T59" fmla="*/ 111 h 1216"/>
                <a:gd name="T60" fmla="*/ 2440 w 2440"/>
                <a:gd name="T61" fmla="*/ 371 h 1216"/>
                <a:gd name="T62" fmla="*/ 2422 w 2440"/>
                <a:gd name="T63" fmla="*/ 583 h 1216"/>
                <a:gd name="T64" fmla="*/ 2244 w 2440"/>
                <a:gd name="T65" fmla="*/ 1078 h 1216"/>
                <a:gd name="T66" fmla="*/ 1941 w 2440"/>
                <a:gd name="T67" fmla="*/ 1216 h 1216"/>
                <a:gd name="T68" fmla="*/ 1910 w 2440"/>
                <a:gd name="T69" fmla="*/ 944 h 1216"/>
                <a:gd name="T70" fmla="*/ 2024 w 2440"/>
                <a:gd name="T71" fmla="*/ 954 h 1216"/>
                <a:gd name="T72" fmla="*/ 2103 w 2440"/>
                <a:gd name="T73" fmla="*/ 789 h 1216"/>
                <a:gd name="T74" fmla="*/ 2166 w 2440"/>
                <a:gd name="T75" fmla="*/ 463 h 1216"/>
                <a:gd name="T76" fmla="*/ 2155 w 2440"/>
                <a:gd name="T77" fmla="*/ 273 h 1216"/>
                <a:gd name="T78" fmla="*/ 2041 w 2440"/>
                <a:gd name="T79" fmla="*/ 259 h 1216"/>
                <a:gd name="T80" fmla="*/ 1964 w 2440"/>
                <a:gd name="T81" fmla="*/ 421 h 1216"/>
                <a:gd name="T82" fmla="*/ 1901 w 2440"/>
                <a:gd name="T83" fmla="*/ 755 h 1216"/>
                <a:gd name="T84" fmla="*/ 1910 w 2440"/>
                <a:gd name="T85" fmla="*/ 944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40" h="1216">
                  <a:moveTo>
                    <a:pt x="91" y="1198"/>
                  </a:moveTo>
                  <a:lnTo>
                    <a:pt x="270" y="282"/>
                  </a:lnTo>
                  <a:lnTo>
                    <a:pt x="0" y="328"/>
                  </a:lnTo>
                  <a:lnTo>
                    <a:pt x="41" y="121"/>
                  </a:lnTo>
                  <a:lnTo>
                    <a:pt x="256" y="56"/>
                  </a:lnTo>
                  <a:cubicBezTo>
                    <a:pt x="289" y="46"/>
                    <a:pt x="325" y="36"/>
                    <a:pt x="364" y="28"/>
                  </a:cubicBezTo>
                  <a:cubicBezTo>
                    <a:pt x="403" y="19"/>
                    <a:pt x="442" y="15"/>
                    <a:pt x="483" y="15"/>
                  </a:cubicBezTo>
                  <a:lnTo>
                    <a:pt x="604" y="15"/>
                  </a:lnTo>
                  <a:lnTo>
                    <a:pt x="373" y="1198"/>
                  </a:lnTo>
                  <a:lnTo>
                    <a:pt x="91" y="1198"/>
                  </a:lnTo>
                  <a:close/>
                  <a:moveTo>
                    <a:pt x="910" y="1187"/>
                  </a:moveTo>
                  <a:cubicBezTo>
                    <a:pt x="870" y="1167"/>
                    <a:pt x="839" y="1141"/>
                    <a:pt x="815" y="1107"/>
                  </a:cubicBezTo>
                  <a:cubicBezTo>
                    <a:pt x="791" y="1074"/>
                    <a:pt x="774" y="1035"/>
                    <a:pt x="765" y="990"/>
                  </a:cubicBezTo>
                  <a:cubicBezTo>
                    <a:pt x="755" y="945"/>
                    <a:pt x="751" y="897"/>
                    <a:pt x="751" y="847"/>
                  </a:cubicBezTo>
                  <a:cubicBezTo>
                    <a:pt x="751" y="812"/>
                    <a:pt x="752" y="776"/>
                    <a:pt x="755" y="740"/>
                  </a:cubicBezTo>
                  <a:cubicBezTo>
                    <a:pt x="759" y="704"/>
                    <a:pt x="763" y="669"/>
                    <a:pt x="769" y="633"/>
                  </a:cubicBezTo>
                  <a:cubicBezTo>
                    <a:pt x="786" y="519"/>
                    <a:pt x="809" y="421"/>
                    <a:pt x="838" y="341"/>
                  </a:cubicBezTo>
                  <a:cubicBezTo>
                    <a:pt x="867" y="261"/>
                    <a:pt x="902" y="196"/>
                    <a:pt x="942" y="145"/>
                  </a:cubicBezTo>
                  <a:cubicBezTo>
                    <a:pt x="982" y="94"/>
                    <a:pt x="1027" y="57"/>
                    <a:pt x="1079" y="34"/>
                  </a:cubicBezTo>
                  <a:cubicBezTo>
                    <a:pt x="1130" y="11"/>
                    <a:pt x="1187" y="0"/>
                    <a:pt x="1250" y="0"/>
                  </a:cubicBezTo>
                  <a:cubicBezTo>
                    <a:pt x="1312" y="0"/>
                    <a:pt x="1364" y="10"/>
                    <a:pt x="1404" y="30"/>
                  </a:cubicBezTo>
                  <a:cubicBezTo>
                    <a:pt x="1445" y="50"/>
                    <a:pt x="1477" y="77"/>
                    <a:pt x="1500" y="111"/>
                  </a:cubicBezTo>
                  <a:cubicBezTo>
                    <a:pt x="1524" y="145"/>
                    <a:pt x="1540" y="185"/>
                    <a:pt x="1549" y="230"/>
                  </a:cubicBezTo>
                  <a:cubicBezTo>
                    <a:pt x="1559" y="274"/>
                    <a:pt x="1563" y="322"/>
                    <a:pt x="1563" y="371"/>
                  </a:cubicBezTo>
                  <a:cubicBezTo>
                    <a:pt x="1563" y="406"/>
                    <a:pt x="1562" y="441"/>
                    <a:pt x="1558" y="477"/>
                  </a:cubicBezTo>
                  <a:cubicBezTo>
                    <a:pt x="1555" y="512"/>
                    <a:pt x="1551" y="548"/>
                    <a:pt x="1545" y="583"/>
                  </a:cubicBezTo>
                  <a:cubicBezTo>
                    <a:pt x="1527" y="702"/>
                    <a:pt x="1502" y="802"/>
                    <a:pt x="1472" y="883"/>
                  </a:cubicBezTo>
                  <a:cubicBezTo>
                    <a:pt x="1442" y="964"/>
                    <a:pt x="1407" y="1029"/>
                    <a:pt x="1367" y="1078"/>
                  </a:cubicBezTo>
                  <a:cubicBezTo>
                    <a:pt x="1327" y="1128"/>
                    <a:pt x="1282" y="1163"/>
                    <a:pt x="1231" y="1184"/>
                  </a:cubicBezTo>
                  <a:cubicBezTo>
                    <a:pt x="1180" y="1206"/>
                    <a:pt x="1124" y="1216"/>
                    <a:pt x="1064" y="1216"/>
                  </a:cubicBezTo>
                  <a:cubicBezTo>
                    <a:pt x="1002" y="1216"/>
                    <a:pt x="950" y="1206"/>
                    <a:pt x="910" y="1187"/>
                  </a:cubicBezTo>
                  <a:close/>
                  <a:moveTo>
                    <a:pt x="1033" y="944"/>
                  </a:moveTo>
                  <a:cubicBezTo>
                    <a:pt x="1045" y="960"/>
                    <a:pt x="1065" y="968"/>
                    <a:pt x="1094" y="968"/>
                  </a:cubicBezTo>
                  <a:cubicBezTo>
                    <a:pt x="1114" y="968"/>
                    <a:pt x="1132" y="963"/>
                    <a:pt x="1147" y="954"/>
                  </a:cubicBezTo>
                  <a:cubicBezTo>
                    <a:pt x="1162" y="944"/>
                    <a:pt x="1176" y="926"/>
                    <a:pt x="1189" y="899"/>
                  </a:cubicBezTo>
                  <a:cubicBezTo>
                    <a:pt x="1202" y="873"/>
                    <a:pt x="1214" y="837"/>
                    <a:pt x="1226" y="789"/>
                  </a:cubicBezTo>
                  <a:cubicBezTo>
                    <a:pt x="1237" y="742"/>
                    <a:pt x="1250" y="682"/>
                    <a:pt x="1264" y="607"/>
                  </a:cubicBezTo>
                  <a:cubicBezTo>
                    <a:pt x="1275" y="551"/>
                    <a:pt x="1284" y="503"/>
                    <a:pt x="1289" y="463"/>
                  </a:cubicBezTo>
                  <a:cubicBezTo>
                    <a:pt x="1295" y="422"/>
                    <a:pt x="1297" y="388"/>
                    <a:pt x="1297" y="359"/>
                  </a:cubicBezTo>
                  <a:cubicBezTo>
                    <a:pt x="1297" y="320"/>
                    <a:pt x="1291" y="291"/>
                    <a:pt x="1278" y="273"/>
                  </a:cubicBezTo>
                  <a:cubicBezTo>
                    <a:pt x="1266" y="255"/>
                    <a:pt x="1245" y="246"/>
                    <a:pt x="1215" y="246"/>
                  </a:cubicBezTo>
                  <a:cubicBezTo>
                    <a:pt x="1195" y="246"/>
                    <a:pt x="1179" y="250"/>
                    <a:pt x="1164" y="259"/>
                  </a:cubicBezTo>
                  <a:cubicBezTo>
                    <a:pt x="1150" y="268"/>
                    <a:pt x="1137" y="285"/>
                    <a:pt x="1124" y="311"/>
                  </a:cubicBezTo>
                  <a:cubicBezTo>
                    <a:pt x="1111" y="337"/>
                    <a:pt x="1099" y="373"/>
                    <a:pt x="1087" y="421"/>
                  </a:cubicBezTo>
                  <a:cubicBezTo>
                    <a:pt x="1075" y="468"/>
                    <a:pt x="1062" y="531"/>
                    <a:pt x="1048" y="607"/>
                  </a:cubicBezTo>
                  <a:cubicBezTo>
                    <a:pt x="1038" y="664"/>
                    <a:pt x="1030" y="713"/>
                    <a:pt x="1024" y="755"/>
                  </a:cubicBezTo>
                  <a:cubicBezTo>
                    <a:pt x="1018" y="797"/>
                    <a:pt x="1015" y="832"/>
                    <a:pt x="1015" y="860"/>
                  </a:cubicBezTo>
                  <a:cubicBezTo>
                    <a:pt x="1015" y="898"/>
                    <a:pt x="1021" y="926"/>
                    <a:pt x="1033" y="944"/>
                  </a:cubicBezTo>
                  <a:close/>
                  <a:moveTo>
                    <a:pt x="1787" y="1187"/>
                  </a:moveTo>
                  <a:cubicBezTo>
                    <a:pt x="1747" y="1167"/>
                    <a:pt x="1715" y="1141"/>
                    <a:pt x="1691" y="1107"/>
                  </a:cubicBezTo>
                  <a:cubicBezTo>
                    <a:pt x="1667" y="1074"/>
                    <a:pt x="1651" y="1035"/>
                    <a:pt x="1641" y="990"/>
                  </a:cubicBezTo>
                  <a:cubicBezTo>
                    <a:pt x="1632" y="945"/>
                    <a:pt x="1627" y="897"/>
                    <a:pt x="1627" y="847"/>
                  </a:cubicBezTo>
                  <a:cubicBezTo>
                    <a:pt x="1627" y="812"/>
                    <a:pt x="1629" y="776"/>
                    <a:pt x="1632" y="740"/>
                  </a:cubicBezTo>
                  <a:cubicBezTo>
                    <a:pt x="1635" y="704"/>
                    <a:pt x="1640" y="669"/>
                    <a:pt x="1645" y="633"/>
                  </a:cubicBezTo>
                  <a:cubicBezTo>
                    <a:pt x="1663" y="519"/>
                    <a:pt x="1686" y="421"/>
                    <a:pt x="1715" y="341"/>
                  </a:cubicBezTo>
                  <a:cubicBezTo>
                    <a:pt x="1744" y="261"/>
                    <a:pt x="1779" y="196"/>
                    <a:pt x="1819" y="145"/>
                  </a:cubicBezTo>
                  <a:cubicBezTo>
                    <a:pt x="1859" y="94"/>
                    <a:pt x="1904" y="57"/>
                    <a:pt x="1956" y="34"/>
                  </a:cubicBezTo>
                  <a:cubicBezTo>
                    <a:pt x="2007" y="11"/>
                    <a:pt x="2064" y="0"/>
                    <a:pt x="2126" y="0"/>
                  </a:cubicBezTo>
                  <a:cubicBezTo>
                    <a:pt x="2189" y="0"/>
                    <a:pt x="2240" y="10"/>
                    <a:pt x="2281" y="30"/>
                  </a:cubicBezTo>
                  <a:cubicBezTo>
                    <a:pt x="2321" y="50"/>
                    <a:pt x="2353" y="77"/>
                    <a:pt x="2377" y="111"/>
                  </a:cubicBezTo>
                  <a:cubicBezTo>
                    <a:pt x="2400" y="145"/>
                    <a:pt x="2417" y="185"/>
                    <a:pt x="2426" y="230"/>
                  </a:cubicBezTo>
                  <a:cubicBezTo>
                    <a:pt x="2435" y="274"/>
                    <a:pt x="2440" y="322"/>
                    <a:pt x="2440" y="371"/>
                  </a:cubicBezTo>
                  <a:cubicBezTo>
                    <a:pt x="2440" y="406"/>
                    <a:pt x="2438" y="441"/>
                    <a:pt x="2435" y="477"/>
                  </a:cubicBezTo>
                  <a:cubicBezTo>
                    <a:pt x="2432" y="512"/>
                    <a:pt x="2427" y="548"/>
                    <a:pt x="2422" y="583"/>
                  </a:cubicBezTo>
                  <a:cubicBezTo>
                    <a:pt x="2403" y="702"/>
                    <a:pt x="2379" y="802"/>
                    <a:pt x="2349" y="883"/>
                  </a:cubicBezTo>
                  <a:cubicBezTo>
                    <a:pt x="2319" y="964"/>
                    <a:pt x="2284" y="1029"/>
                    <a:pt x="2244" y="1078"/>
                  </a:cubicBezTo>
                  <a:cubicBezTo>
                    <a:pt x="2204" y="1128"/>
                    <a:pt x="2158" y="1163"/>
                    <a:pt x="2108" y="1184"/>
                  </a:cubicBezTo>
                  <a:cubicBezTo>
                    <a:pt x="2057" y="1206"/>
                    <a:pt x="2001" y="1216"/>
                    <a:pt x="1941" y="1216"/>
                  </a:cubicBezTo>
                  <a:cubicBezTo>
                    <a:pt x="1878" y="1216"/>
                    <a:pt x="1827" y="1206"/>
                    <a:pt x="1787" y="1187"/>
                  </a:cubicBezTo>
                  <a:close/>
                  <a:moveTo>
                    <a:pt x="1910" y="944"/>
                  </a:moveTo>
                  <a:cubicBezTo>
                    <a:pt x="1922" y="960"/>
                    <a:pt x="1942" y="968"/>
                    <a:pt x="1970" y="968"/>
                  </a:cubicBezTo>
                  <a:cubicBezTo>
                    <a:pt x="1991" y="968"/>
                    <a:pt x="2009" y="963"/>
                    <a:pt x="2024" y="954"/>
                  </a:cubicBezTo>
                  <a:cubicBezTo>
                    <a:pt x="2039" y="944"/>
                    <a:pt x="2053" y="926"/>
                    <a:pt x="2066" y="899"/>
                  </a:cubicBezTo>
                  <a:cubicBezTo>
                    <a:pt x="2079" y="873"/>
                    <a:pt x="2091" y="837"/>
                    <a:pt x="2103" y="789"/>
                  </a:cubicBezTo>
                  <a:cubicBezTo>
                    <a:pt x="2114" y="742"/>
                    <a:pt x="2127" y="682"/>
                    <a:pt x="2141" y="607"/>
                  </a:cubicBezTo>
                  <a:cubicBezTo>
                    <a:pt x="2152" y="551"/>
                    <a:pt x="2160" y="503"/>
                    <a:pt x="2166" y="463"/>
                  </a:cubicBezTo>
                  <a:cubicBezTo>
                    <a:pt x="2171" y="422"/>
                    <a:pt x="2174" y="388"/>
                    <a:pt x="2174" y="359"/>
                  </a:cubicBezTo>
                  <a:cubicBezTo>
                    <a:pt x="2174" y="320"/>
                    <a:pt x="2168" y="291"/>
                    <a:pt x="2155" y="273"/>
                  </a:cubicBezTo>
                  <a:cubicBezTo>
                    <a:pt x="2143" y="255"/>
                    <a:pt x="2121" y="246"/>
                    <a:pt x="2092" y="246"/>
                  </a:cubicBezTo>
                  <a:cubicBezTo>
                    <a:pt x="2072" y="246"/>
                    <a:pt x="2055" y="250"/>
                    <a:pt x="2041" y="259"/>
                  </a:cubicBezTo>
                  <a:cubicBezTo>
                    <a:pt x="2027" y="268"/>
                    <a:pt x="2013" y="285"/>
                    <a:pt x="2001" y="311"/>
                  </a:cubicBezTo>
                  <a:cubicBezTo>
                    <a:pt x="1988" y="337"/>
                    <a:pt x="1976" y="373"/>
                    <a:pt x="1964" y="421"/>
                  </a:cubicBezTo>
                  <a:cubicBezTo>
                    <a:pt x="1952" y="468"/>
                    <a:pt x="1939" y="531"/>
                    <a:pt x="1924" y="607"/>
                  </a:cubicBezTo>
                  <a:cubicBezTo>
                    <a:pt x="1915" y="664"/>
                    <a:pt x="1907" y="713"/>
                    <a:pt x="1901" y="755"/>
                  </a:cubicBezTo>
                  <a:cubicBezTo>
                    <a:pt x="1895" y="797"/>
                    <a:pt x="1892" y="832"/>
                    <a:pt x="1892" y="860"/>
                  </a:cubicBezTo>
                  <a:cubicBezTo>
                    <a:pt x="1892" y="898"/>
                    <a:pt x="1898" y="926"/>
                    <a:pt x="1910" y="944"/>
                  </a:cubicBezTo>
                  <a:close/>
                </a:path>
              </a:pathLst>
            </a:custGeom>
            <a:solidFill>
              <a:srgbClr val="00B2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13" name="Oval 27">
              <a:extLst>
                <a:ext uri="{FF2B5EF4-FFF2-40B4-BE49-F238E27FC236}">
                  <a16:creationId xmlns:a16="http://schemas.microsoft.com/office/drawing/2014/main" id="{0899CB1F-A120-4324-A583-4F504BDDFA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40" y="6392029"/>
              <a:ext cx="367967" cy="350602"/>
            </a:xfrm>
            <a:prstGeom prst="ellipse">
              <a:avLst/>
            </a:prstGeom>
            <a:solidFill>
              <a:srgbClr val="00B2A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39D80668-4AD8-4D41-B1F8-64567AE65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6" y="6529231"/>
              <a:ext cx="218781" cy="108425"/>
            </a:xfrm>
            <a:custGeom>
              <a:avLst/>
              <a:gdLst>
                <a:gd name="T0" fmla="*/ 0 w 6716"/>
                <a:gd name="T1" fmla="*/ 1761 h 3445"/>
                <a:gd name="T2" fmla="*/ 2662 w 6716"/>
                <a:gd name="T3" fmla="*/ 2848 h 3445"/>
                <a:gd name="T4" fmla="*/ 3346 w 6716"/>
                <a:gd name="T5" fmla="*/ 3445 h 3445"/>
                <a:gd name="T6" fmla="*/ 6713 w 6716"/>
                <a:gd name="T7" fmla="*/ 1522 h 3445"/>
                <a:gd name="T8" fmla="*/ 6716 w 6716"/>
                <a:gd name="T9" fmla="*/ 262 h 3445"/>
                <a:gd name="T10" fmla="*/ 3557 w 6716"/>
                <a:gd name="T11" fmla="*/ 1968 h 3445"/>
                <a:gd name="T12" fmla="*/ 6 w 6716"/>
                <a:gd name="T13" fmla="*/ 480 h 3445"/>
                <a:gd name="T14" fmla="*/ 0 w 6716"/>
                <a:gd name="T15" fmla="*/ 1761 h 3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16" h="3445">
                  <a:moveTo>
                    <a:pt x="0" y="1761"/>
                  </a:moveTo>
                  <a:cubicBezTo>
                    <a:pt x="833" y="1598"/>
                    <a:pt x="2078" y="2264"/>
                    <a:pt x="2662" y="2848"/>
                  </a:cubicBezTo>
                  <a:cubicBezTo>
                    <a:pt x="2955" y="3141"/>
                    <a:pt x="3135" y="3445"/>
                    <a:pt x="3346" y="3445"/>
                  </a:cubicBezTo>
                  <a:cubicBezTo>
                    <a:pt x="3989" y="3445"/>
                    <a:pt x="6712" y="2047"/>
                    <a:pt x="6713" y="1522"/>
                  </a:cubicBezTo>
                  <a:lnTo>
                    <a:pt x="6716" y="262"/>
                  </a:lnTo>
                  <a:cubicBezTo>
                    <a:pt x="6716" y="262"/>
                    <a:pt x="4533" y="2111"/>
                    <a:pt x="3557" y="1968"/>
                  </a:cubicBezTo>
                  <a:cubicBezTo>
                    <a:pt x="3002" y="1886"/>
                    <a:pt x="8" y="0"/>
                    <a:pt x="6" y="480"/>
                  </a:cubicBezTo>
                  <a:lnTo>
                    <a:pt x="0" y="1761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F9702288-7313-467A-A728-34D636BBAD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877" y="6438016"/>
              <a:ext cx="243505" cy="258626"/>
            </a:xfrm>
            <a:custGeom>
              <a:avLst/>
              <a:gdLst>
                <a:gd name="T0" fmla="*/ 3532 w 7094"/>
                <a:gd name="T1" fmla="*/ 1 h 8213"/>
                <a:gd name="T2" fmla="*/ 3454 w 7094"/>
                <a:gd name="T3" fmla="*/ 24 h 8213"/>
                <a:gd name="T4" fmla="*/ 93 w 7094"/>
                <a:gd name="T5" fmla="*/ 1984 h 8213"/>
                <a:gd name="T6" fmla="*/ 0 w 7094"/>
                <a:gd name="T7" fmla="*/ 2146 h 8213"/>
                <a:gd name="T8" fmla="*/ 0 w 7094"/>
                <a:gd name="T9" fmla="*/ 2148 h 8213"/>
                <a:gd name="T10" fmla="*/ 0 w 7094"/>
                <a:gd name="T11" fmla="*/ 6068 h 8213"/>
                <a:gd name="T12" fmla="*/ 93 w 7094"/>
                <a:gd name="T13" fmla="*/ 6228 h 8213"/>
                <a:gd name="T14" fmla="*/ 3454 w 7094"/>
                <a:gd name="T15" fmla="*/ 8188 h 8213"/>
                <a:gd name="T16" fmla="*/ 3547 w 7094"/>
                <a:gd name="T17" fmla="*/ 8213 h 8213"/>
                <a:gd name="T18" fmla="*/ 3640 w 7094"/>
                <a:gd name="T19" fmla="*/ 8188 h 8213"/>
                <a:gd name="T20" fmla="*/ 7001 w 7094"/>
                <a:gd name="T21" fmla="*/ 6228 h 8213"/>
                <a:gd name="T22" fmla="*/ 7094 w 7094"/>
                <a:gd name="T23" fmla="*/ 6068 h 8213"/>
                <a:gd name="T24" fmla="*/ 7094 w 7094"/>
                <a:gd name="T25" fmla="*/ 2148 h 8213"/>
                <a:gd name="T26" fmla="*/ 7094 w 7094"/>
                <a:gd name="T27" fmla="*/ 2146 h 8213"/>
                <a:gd name="T28" fmla="*/ 7001 w 7094"/>
                <a:gd name="T29" fmla="*/ 1984 h 8213"/>
                <a:gd name="T30" fmla="*/ 3640 w 7094"/>
                <a:gd name="T31" fmla="*/ 24 h 8213"/>
                <a:gd name="T32" fmla="*/ 3549 w 7094"/>
                <a:gd name="T33" fmla="*/ 0 h 8213"/>
                <a:gd name="T34" fmla="*/ 3532 w 7094"/>
                <a:gd name="T35" fmla="*/ 1 h 8213"/>
                <a:gd name="T36" fmla="*/ 3547 w 7094"/>
                <a:gd name="T37" fmla="*/ 403 h 8213"/>
                <a:gd name="T38" fmla="*/ 6537 w 7094"/>
                <a:gd name="T39" fmla="*/ 2145 h 8213"/>
                <a:gd name="T40" fmla="*/ 3547 w 7094"/>
                <a:gd name="T41" fmla="*/ 3889 h 8213"/>
                <a:gd name="T42" fmla="*/ 557 w 7094"/>
                <a:gd name="T43" fmla="*/ 2145 h 8213"/>
                <a:gd name="T44" fmla="*/ 3547 w 7094"/>
                <a:gd name="T45" fmla="*/ 403 h 8213"/>
                <a:gd name="T46" fmla="*/ 373 w 7094"/>
                <a:gd name="T47" fmla="*/ 2468 h 8213"/>
                <a:gd name="T48" fmla="*/ 3360 w 7094"/>
                <a:gd name="T49" fmla="*/ 4213 h 8213"/>
                <a:gd name="T50" fmla="*/ 3360 w 7094"/>
                <a:gd name="T51" fmla="*/ 7701 h 8213"/>
                <a:gd name="T52" fmla="*/ 373 w 7094"/>
                <a:gd name="T53" fmla="*/ 5960 h 8213"/>
                <a:gd name="T54" fmla="*/ 373 w 7094"/>
                <a:gd name="T55" fmla="*/ 2468 h 8213"/>
                <a:gd name="T56" fmla="*/ 6721 w 7094"/>
                <a:gd name="T57" fmla="*/ 2468 h 8213"/>
                <a:gd name="T58" fmla="*/ 6721 w 7094"/>
                <a:gd name="T59" fmla="*/ 5960 h 8213"/>
                <a:gd name="T60" fmla="*/ 3734 w 7094"/>
                <a:gd name="T61" fmla="*/ 7701 h 8213"/>
                <a:gd name="T62" fmla="*/ 3734 w 7094"/>
                <a:gd name="T63" fmla="*/ 4213 h 8213"/>
                <a:gd name="T64" fmla="*/ 6721 w 7094"/>
                <a:gd name="T65" fmla="*/ 2468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94" h="8213">
                  <a:moveTo>
                    <a:pt x="3532" y="1"/>
                  </a:moveTo>
                  <a:cubicBezTo>
                    <a:pt x="3505" y="3"/>
                    <a:pt x="3478" y="11"/>
                    <a:pt x="3454" y="24"/>
                  </a:cubicBezTo>
                  <a:lnTo>
                    <a:pt x="93" y="1984"/>
                  </a:lnTo>
                  <a:cubicBezTo>
                    <a:pt x="36" y="2018"/>
                    <a:pt x="0" y="2079"/>
                    <a:pt x="0" y="2146"/>
                  </a:cubicBezTo>
                  <a:cubicBezTo>
                    <a:pt x="0" y="2146"/>
                    <a:pt x="0" y="2147"/>
                    <a:pt x="0" y="2148"/>
                  </a:cubicBezTo>
                  <a:lnTo>
                    <a:pt x="0" y="6068"/>
                  </a:lnTo>
                  <a:cubicBezTo>
                    <a:pt x="1" y="6134"/>
                    <a:pt x="36" y="6195"/>
                    <a:pt x="93" y="6228"/>
                  </a:cubicBezTo>
                  <a:lnTo>
                    <a:pt x="3454" y="8188"/>
                  </a:lnTo>
                  <a:cubicBezTo>
                    <a:pt x="3482" y="8205"/>
                    <a:pt x="3514" y="8213"/>
                    <a:pt x="3547" y="8213"/>
                  </a:cubicBezTo>
                  <a:cubicBezTo>
                    <a:pt x="3580" y="8213"/>
                    <a:pt x="3612" y="8205"/>
                    <a:pt x="3640" y="8188"/>
                  </a:cubicBezTo>
                  <a:lnTo>
                    <a:pt x="7001" y="6228"/>
                  </a:lnTo>
                  <a:cubicBezTo>
                    <a:pt x="7058" y="6195"/>
                    <a:pt x="7093" y="6134"/>
                    <a:pt x="7094" y="6068"/>
                  </a:cubicBezTo>
                  <a:lnTo>
                    <a:pt x="7094" y="2148"/>
                  </a:lnTo>
                  <a:cubicBezTo>
                    <a:pt x="7094" y="2147"/>
                    <a:pt x="7094" y="2146"/>
                    <a:pt x="7094" y="2146"/>
                  </a:cubicBezTo>
                  <a:cubicBezTo>
                    <a:pt x="7094" y="2079"/>
                    <a:pt x="7058" y="2018"/>
                    <a:pt x="7001" y="1984"/>
                  </a:cubicBezTo>
                  <a:lnTo>
                    <a:pt x="3640" y="24"/>
                  </a:lnTo>
                  <a:cubicBezTo>
                    <a:pt x="3612" y="8"/>
                    <a:pt x="3581" y="0"/>
                    <a:pt x="3549" y="0"/>
                  </a:cubicBezTo>
                  <a:cubicBezTo>
                    <a:pt x="3543" y="0"/>
                    <a:pt x="3538" y="0"/>
                    <a:pt x="3532" y="1"/>
                  </a:cubicBezTo>
                  <a:close/>
                  <a:moveTo>
                    <a:pt x="3547" y="403"/>
                  </a:moveTo>
                  <a:lnTo>
                    <a:pt x="6537" y="2145"/>
                  </a:lnTo>
                  <a:lnTo>
                    <a:pt x="3547" y="3889"/>
                  </a:lnTo>
                  <a:lnTo>
                    <a:pt x="557" y="2145"/>
                  </a:lnTo>
                  <a:lnTo>
                    <a:pt x="3547" y="403"/>
                  </a:lnTo>
                  <a:close/>
                  <a:moveTo>
                    <a:pt x="373" y="2468"/>
                  </a:moveTo>
                  <a:lnTo>
                    <a:pt x="3360" y="4213"/>
                  </a:lnTo>
                  <a:lnTo>
                    <a:pt x="3360" y="7701"/>
                  </a:lnTo>
                  <a:lnTo>
                    <a:pt x="373" y="5960"/>
                  </a:lnTo>
                  <a:lnTo>
                    <a:pt x="373" y="2468"/>
                  </a:lnTo>
                  <a:close/>
                  <a:moveTo>
                    <a:pt x="6721" y="2468"/>
                  </a:moveTo>
                  <a:lnTo>
                    <a:pt x="6721" y="5960"/>
                  </a:lnTo>
                  <a:lnTo>
                    <a:pt x="3734" y="7701"/>
                  </a:lnTo>
                  <a:lnTo>
                    <a:pt x="3734" y="4213"/>
                  </a:lnTo>
                  <a:lnTo>
                    <a:pt x="6721" y="2468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675C53"/>
                </a:solidFill>
                <a:effectLst/>
                <a:uLnTx/>
                <a:uFillTx/>
                <a:latin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21114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>
          <a:xfrm>
            <a:off x="265815" y="180754"/>
            <a:ext cx="11660372" cy="4890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304229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6"/>
          <p:cNvSpPr>
            <a:spLocks noGrp="1"/>
          </p:cNvSpPr>
          <p:nvPr>
            <p:ph type="body" sz="quarter" idx="10"/>
          </p:nvPr>
        </p:nvSpPr>
        <p:spPr>
          <a:xfrm>
            <a:off x="192088" y="115888"/>
            <a:ext cx="11807825" cy="4333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3" name="Espaço Reservado para Texto 8"/>
          <p:cNvSpPr>
            <a:spLocks noGrp="1"/>
          </p:cNvSpPr>
          <p:nvPr>
            <p:ph type="body" sz="quarter" idx="11"/>
          </p:nvPr>
        </p:nvSpPr>
        <p:spPr>
          <a:xfrm>
            <a:off x="192088" y="476250"/>
            <a:ext cx="11807825" cy="2889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11298209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pos="277">
          <p15:clr>
            <a:srgbClr val="CCCCCC"/>
          </p15:clr>
        </p15:guide>
        <p15:guide id="2" pos="9963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E276AC46-4969-4214-B107-4D3FEF07A1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E276AC46-4969-4214-B107-4D3FEF07A1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>
            <a:extLst>
              <a:ext uri="{FF2B5EF4-FFF2-40B4-BE49-F238E27FC236}">
                <a16:creationId xmlns:a16="http://schemas.microsoft.com/office/drawing/2014/main" id="{9E14257D-FDAB-47F2-B9B7-5D0CD93A1B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0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2CD5CDD-21D6-474E-8A52-74E583E17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2C45A0E-ECA3-4DDA-9D3A-0725B79A15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52E8CE3-F794-4FAF-A8B8-8FA6522F60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D7601B89-C49C-43BD-AE6E-0FD11DDE10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F12F8829-A114-40C6-95C2-0375F6B49A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9DC781B-5D4E-4C1A-A398-BC42E73AD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CB1C7-BC24-4B1A-8401-3570DFE411D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357087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ranco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0165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B4F834F5-DE4F-4F81-B601-7D82D427D63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24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14C7952-F3DF-4F44-B27A-C3A0AB38C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574" y="163513"/>
            <a:ext cx="11690061" cy="847869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rgbClr val="004165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3653793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2" y="159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270" imgH="270" progId="TCLayout.ActiveDocument.1">
                  <p:embed/>
                </p:oleObj>
              </mc:Choice>
              <mc:Fallback>
                <p:oleObj name="Slide do think-cell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2" y="159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9448800" y="6493512"/>
            <a:ext cx="2743200" cy="365125"/>
          </a:xfrm>
        </p:spPr>
        <p:txBody>
          <a:bodyPr/>
          <a:lstStyle/>
          <a:p>
            <a:fld id="{DCDCB1C7-BC24-4B1A-8401-3570DFE411D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40413067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conteúdo_Mar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004344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co_sem_mar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126519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4" y="0"/>
            <a:ext cx="12189177" cy="685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0974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-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3784" y="258202"/>
            <a:ext cx="1985133" cy="575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2778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 userDrawn="1"/>
        </p:nvGrpSpPr>
        <p:grpSpPr>
          <a:xfrm>
            <a:off x="2004363" y="1797663"/>
            <a:ext cx="8183273" cy="4590995"/>
            <a:chOff x="720696" y="1340780"/>
            <a:chExt cx="6139586" cy="3444309"/>
          </a:xfrm>
        </p:grpSpPr>
        <p:sp>
          <p:nvSpPr>
            <p:cNvPr id="233" name="Espaço Reservado para Conteúdo 3"/>
            <p:cNvSpPr txBox="1">
              <a:spLocks/>
            </p:cNvSpPr>
            <p:nvPr userDrawn="1"/>
          </p:nvSpPr>
          <p:spPr>
            <a:xfrm>
              <a:off x="720696" y="1340780"/>
              <a:ext cx="6139586" cy="284685"/>
            </a:xfrm>
            <a:prstGeom prst="rect">
              <a:avLst/>
            </a:prstGeom>
          </p:spPr>
          <p:txBody>
            <a:bodyPr>
              <a:spAutoFit/>
            </a:bodyPr>
            <a:lstStyle>
              <a:lvl1pPr marL="171490" indent="-171490" algn="l" defTabSz="685960" rtl="0" eaLnBrk="1" latinLnBrk="0" hangingPunct="1">
                <a:lnSpc>
                  <a:spcPct val="90000"/>
                </a:lnSpc>
                <a:spcBef>
                  <a:spcPts val="751"/>
                </a:spcBef>
                <a:buFont typeface="Arial"/>
                <a:buChar char="•"/>
                <a:defRPr sz="21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470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8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450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429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409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6389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369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349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328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331">
                <a:lnSpc>
                  <a:spcPct val="100000"/>
                </a:lnSpc>
                <a:spcBef>
                  <a:spcPts val="1000"/>
                </a:spcBef>
                <a:buNone/>
                <a:defRPr/>
              </a:pPr>
              <a:r>
                <a:rPr lang="pt-BR" sz="1866" dirty="0">
                  <a:solidFill>
                    <a:srgbClr val="000000"/>
                  </a:solidFill>
                </a:rPr>
                <a:t>Cores principais</a:t>
              </a:r>
            </a:p>
          </p:txBody>
        </p:sp>
        <p:grpSp>
          <p:nvGrpSpPr>
            <p:cNvPr id="234" name="Grupo 233"/>
            <p:cNvGrpSpPr/>
            <p:nvPr userDrawn="1"/>
          </p:nvGrpSpPr>
          <p:grpSpPr>
            <a:xfrm>
              <a:off x="729773" y="1768677"/>
              <a:ext cx="6130508" cy="802540"/>
              <a:chOff x="1072823" y="1908803"/>
              <a:chExt cx="4716784" cy="802540"/>
            </a:xfrm>
          </p:grpSpPr>
          <p:sp>
            <p:nvSpPr>
              <p:cNvPr id="250" name="Retângulo 249"/>
              <p:cNvSpPr/>
              <p:nvPr/>
            </p:nvSpPr>
            <p:spPr>
              <a:xfrm>
                <a:off x="1072823" y="1908803"/>
                <a:ext cx="2339001" cy="80254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1599" b="1">
                    <a:solidFill>
                      <a:schemeClr val="tx2"/>
                    </a:solidFill>
                  </a:rPr>
                  <a:t>Verde Petrobras</a:t>
                </a:r>
              </a:p>
              <a:p>
                <a:pPr algn="ctr"/>
                <a:r>
                  <a:rPr lang="is-IS" sz="1599">
                    <a:solidFill>
                      <a:schemeClr val="tx2"/>
                    </a:solidFill>
                  </a:rPr>
                  <a:t>R0 G133 B66</a:t>
                </a:r>
                <a:endParaRPr lang="pt-BR" sz="1599">
                  <a:solidFill>
                    <a:schemeClr val="tx2"/>
                  </a:solidFill>
                </a:endParaRPr>
              </a:p>
            </p:txBody>
          </p:sp>
          <p:sp>
            <p:nvSpPr>
              <p:cNvPr id="251" name="Retângulo 250"/>
              <p:cNvSpPr/>
              <p:nvPr/>
            </p:nvSpPr>
            <p:spPr>
              <a:xfrm>
                <a:off x="3450606" y="1908803"/>
                <a:ext cx="2339001" cy="80254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1599" b="1">
                    <a:solidFill>
                      <a:schemeClr val="tx2"/>
                    </a:solidFill>
                  </a:rPr>
                  <a:t>Amarelo Petrobras</a:t>
                </a:r>
              </a:p>
              <a:p>
                <a:pPr algn="ctr"/>
                <a:r>
                  <a:rPr lang="is-IS" sz="1599">
                    <a:solidFill>
                      <a:schemeClr val="tx2"/>
                    </a:solidFill>
                  </a:rPr>
                  <a:t>R253 G200 B47 </a:t>
                </a:r>
              </a:p>
            </p:txBody>
          </p:sp>
        </p:grpSp>
        <p:sp>
          <p:nvSpPr>
            <p:cNvPr id="235" name="Espaço Reservado para Conteúdo 3"/>
            <p:cNvSpPr txBox="1">
              <a:spLocks/>
            </p:cNvSpPr>
            <p:nvPr userDrawn="1"/>
          </p:nvSpPr>
          <p:spPr>
            <a:xfrm>
              <a:off x="720696" y="2874081"/>
              <a:ext cx="6139586" cy="284685"/>
            </a:xfrm>
            <a:prstGeom prst="rect">
              <a:avLst/>
            </a:prstGeom>
          </p:spPr>
          <p:txBody>
            <a:bodyPr>
              <a:spAutoFit/>
            </a:bodyPr>
            <a:lstStyle>
              <a:lvl1pPr marL="171490" indent="-171490" algn="l" defTabSz="685960" rtl="0" eaLnBrk="1" latinLnBrk="0" hangingPunct="1">
                <a:lnSpc>
                  <a:spcPct val="90000"/>
                </a:lnSpc>
                <a:spcBef>
                  <a:spcPts val="751"/>
                </a:spcBef>
                <a:buFont typeface="Arial"/>
                <a:buChar char="•"/>
                <a:defRPr sz="21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470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8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450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429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409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6389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369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349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328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331">
                <a:lnSpc>
                  <a:spcPct val="100000"/>
                </a:lnSpc>
                <a:spcBef>
                  <a:spcPts val="1000"/>
                </a:spcBef>
                <a:buNone/>
                <a:defRPr/>
              </a:pPr>
              <a:r>
                <a:rPr lang="pt-BR" sz="1866" dirty="0">
                  <a:solidFill>
                    <a:srgbClr val="000000"/>
                  </a:solidFill>
                </a:rPr>
                <a:t>Cores secundárias</a:t>
              </a:r>
            </a:p>
          </p:txBody>
        </p:sp>
        <p:grpSp>
          <p:nvGrpSpPr>
            <p:cNvPr id="236" name="Grupo 235"/>
            <p:cNvGrpSpPr/>
            <p:nvPr userDrawn="1"/>
          </p:nvGrpSpPr>
          <p:grpSpPr>
            <a:xfrm>
              <a:off x="720696" y="3328249"/>
              <a:ext cx="6139586" cy="1456840"/>
              <a:chOff x="557938" y="3328249"/>
              <a:chExt cx="5743712" cy="1456840"/>
            </a:xfrm>
          </p:grpSpPr>
          <p:grpSp>
            <p:nvGrpSpPr>
              <p:cNvPr id="240" name="Grupo 239"/>
              <p:cNvGrpSpPr/>
              <p:nvPr/>
            </p:nvGrpSpPr>
            <p:grpSpPr>
              <a:xfrm>
                <a:off x="557938" y="3328249"/>
                <a:ext cx="5743712" cy="697930"/>
                <a:chOff x="557938" y="867905"/>
                <a:chExt cx="6480676" cy="488197"/>
              </a:xfrm>
            </p:grpSpPr>
            <p:sp>
              <p:nvSpPr>
                <p:cNvPr id="246" name="Retângulo 245"/>
                <p:cNvSpPr/>
                <p:nvPr/>
              </p:nvSpPr>
              <p:spPr>
                <a:xfrm>
                  <a:off x="557938" y="867905"/>
                  <a:ext cx="1573078" cy="48819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400" b="1" dirty="0">
                      <a:solidFill>
                        <a:schemeClr val="tx2"/>
                      </a:solidFill>
                    </a:rPr>
                    <a:t>Verde água</a:t>
                  </a:r>
                </a:p>
                <a:p>
                  <a:pPr algn="ctr"/>
                  <a:r>
                    <a:rPr lang="is-IS" sz="1400" dirty="0">
                      <a:solidFill>
                        <a:schemeClr val="tx2"/>
                      </a:solidFill>
                    </a:rPr>
                    <a:t>R0 G178 B169 </a:t>
                  </a:r>
                </a:p>
              </p:txBody>
            </p:sp>
            <p:sp>
              <p:nvSpPr>
                <p:cNvPr id="247" name="Retângulo 246"/>
                <p:cNvSpPr/>
                <p:nvPr/>
              </p:nvSpPr>
              <p:spPr>
                <a:xfrm>
                  <a:off x="2193804" y="867905"/>
                  <a:ext cx="1573078" cy="488197"/>
                </a:xfrm>
                <a:prstGeom prst="rect">
                  <a:avLst/>
                </a:prstGeom>
                <a:solidFill>
                  <a:srgbClr val="C4D6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400" b="1" dirty="0">
                      <a:solidFill>
                        <a:schemeClr val="tx2"/>
                      </a:solidFill>
                    </a:rPr>
                    <a:t>Verde claro</a:t>
                  </a:r>
                </a:p>
                <a:p>
                  <a:pPr algn="ctr"/>
                  <a:r>
                    <a:rPr lang="is-IS" sz="1400" dirty="0">
                      <a:solidFill>
                        <a:schemeClr val="tx2"/>
                      </a:solidFill>
                    </a:rPr>
                    <a:t>R196 G214 B0  </a:t>
                  </a:r>
                </a:p>
              </p:txBody>
            </p:sp>
            <p:sp>
              <p:nvSpPr>
                <p:cNvPr id="248" name="Retângulo 247"/>
                <p:cNvSpPr/>
                <p:nvPr/>
              </p:nvSpPr>
              <p:spPr>
                <a:xfrm>
                  <a:off x="3829670" y="867905"/>
                  <a:ext cx="1573078" cy="488197"/>
                </a:xfrm>
                <a:prstGeom prst="rect">
                  <a:avLst/>
                </a:prstGeom>
                <a:solidFill>
                  <a:srgbClr val="EB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400" b="1" dirty="0">
                      <a:solidFill>
                        <a:schemeClr val="accent3">
                          <a:lumMod val="50000"/>
                        </a:schemeClr>
                      </a:solidFill>
                    </a:rPr>
                    <a:t>Amarelo claro</a:t>
                  </a:r>
                </a:p>
                <a:p>
                  <a:pPr algn="ctr"/>
                  <a:r>
                    <a:rPr lang="is-IS" sz="1400" dirty="0">
                      <a:solidFill>
                        <a:schemeClr val="accent3">
                          <a:lumMod val="50000"/>
                        </a:schemeClr>
                      </a:solidFill>
                    </a:rPr>
                    <a:t>R235 G255 B0 </a:t>
                  </a:r>
                </a:p>
              </p:txBody>
            </p:sp>
            <p:sp>
              <p:nvSpPr>
                <p:cNvPr id="249" name="Retângulo 248"/>
                <p:cNvSpPr/>
                <p:nvPr/>
              </p:nvSpPr>
              <p:spPr>
                <a:xfrm>
                  <a:off x="5465536" y="867905"/>
                  <a:ext cx="1573078" cy="488197"/>
                </a:xfrm>
                <a:prstGeom prst="rect">
                  <a:avLst/>
                </a:prstGeom>
                <a:solidFill>
                  <a:srgbClr val="ED8B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400" b="1" dirty="0">
                      <a:solidFill>
                        <a:schemeClr val="tx2"/>
                      </a:solidFill>
                    </a:rPr>
                    <a:t>Laranja</a:t>
                  </a:r>
                </a:p>
                <a:p>
                  <a:pPr algn="ctr"/>
                  <a:r>
                    <a:rPr lang="is-IS" sz="1400" dirty="0">
                      <a:solidFill>
                        <a:schemeClr val="tx2"/>
                      </a:solidFill>
                    </a:rPr>
                    <a:t>R237 G139 B0  </a:t>
                  </a:r>
                </a:p>
              </p:txBody>
            </p:sp>
          </p:grpSp>
          <p:grpSp>
            <p:nvGrpSpPr>
              <p:cNvPr id="241" name="Grupo 240"/>
              <p:cNvGrpSpPr/>
              <p:nvPr/>
            </p:nvGrpSpPr>
            <p:grpSpPr>
              <a:xfrm>
                <a:off x="570814" y="4087159"/>
                <a:ext cx="5730835" cy="697930"/>
                <a:chOff x="572468" y="867905"/>
                <a:chExt cx="6466152" cy="488197"/>
              </a:xfrm>
            </p:grpSpPr>
            <p:sp>
              <p:nvSpPr>
                <p:cNvPr id="242" name="Retângulo 241"/>
                <p:cNvSpPr/>
                <p:nvPr/>
              </p:nvSpPr>
              <p:spPr>
                <a:xfrm>
                  <a:off x="572468" y="867905"/>
                  <a:ext cx="2065897" cy="488197"/>
                </a:xfrm>
                <a:prstGeom prst="rect">
                  <a:avLst/>
                </a:prstGeom>
                <a:solidFill>
                  <a:srgbClr val="75787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400" b="1" dirty="0">
                      <a:solidFill>
                        <a:schemeClr val="tx2"/>
                      </a:solidFill>
                    </a:rPr>
                    <a:t>Cinza</a:t>
                  </a:r>
                </a:p>
                <a:p>
                  <a:pPr algn="ctr"/>
                  <a:r>
                    <a:rPr lang="da-DK" sz="1400" dirty="0">
                      <a:solidFill>
                        <a:schemeClr val="tx2"/>
                      </a:solidFill>
                    </a:rPr>
                    <a:t>R117 G120 B123 </a:t>
                  </a:r>
                </a:p>
              </p:txBody>
            </p:sp>
            <p:sp>
              <p:nvSpPr>
                <p:cNvPr id="244" name="Retângulo 243"/>
                <p:cNvSpPr/>
                <p:nvPr/>
              </p:nvSpPr>
              <p:spPr>
                <a:xfrm>
                  <a:off x="2708467" y="867905"/>
                  <a:ext cx="2179628" cy="488197"/>
                </a:xfrm>
                <a:prstGeom prst="rect">
                  <a:avLst/>
                </a:prstGeom>
                <a:solidFill>
                  <a:srgbClr val="00629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400" b="1" dirty="0">
                      <a:solidFill>
                        <a:schemeClr val="tx2"/>
                      </a:solidFill>
                    </a:rPr>
                    <a:t>Azul escuro</a:t>
                  </a:r>
                </a:p>
                <a:p>
                  <a:pPr algn="ctr"/>
                  <a:r>
                    <a:rPr lang="is-IS" sz="1400" dirty="0">
                      <a:solidFill>
                        <a:schemeClr val="tx2"/>
                      </a:solidFill>
                    </a:rPr>
                    <a:t>R0 G98 B152</a:t>
                  </a:r>
                </a:p>
              </p:txBody>
            </p:sp>
            <p:sp>
              <p:nvSpPr>
                <p:cNvPr id="245" name="Retângulo 244"/>
                <p:cNvSpPr/>
                <p:nvPr/>
              </p:nvSpPr>
              <p:spPr>
                <a:xfrm>
                  <a:off x="4958198" y="867905"/>
                  <a:ext cx="2080422" cy="488197"/>
                </a:xfrm>
                <a:prstGeom prst="rect">
                  <a:avLst/>
                </a:prstGeom>
                <a:solidFill>
                  <a:srgbClr val="3DDA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400" b="1" dirty="0">
                      <a:solidFill>
                        <a:schemeClr val="tx2"/>
                      </a:solidFill>
                    </a:rPr>
                    <a:t>Azul claro</a:t>
                  </a:r>
                </a:p>
                <a:p>
                  <a:pPr algn="ctr"/>
                  <a:r>
                    <a:rPr lang="da-DK" sz="1400" dirty="0">
                      <a:solidFill>
                        <a:schemeClr val="tx2"/>
                      </a:solidFill>
                    </a:rPr>
                    <a:t>R61 G218 B255 </a:t>
                  </a:r>
                  <a:r>
                    <a:rPr lang="is-IS" sz="1400" dirty="0">
                      <a:solidFill>
                        <a:schemeClr val="tx2"/>
                      </a:solidFill>
                    </a:rPr>
                    <a:t> </a:t>
                  </a:r>
                </a:p>
              </p:txBody>
            </p:sp>
          </p:grpSp>
        </p:grpSp>
      </p:grpSp>
      <p:sp>
        <p:nvSpPr>
          <p:cNvPr id="237" name="CaixaDeTexto 236"/>
          <p:cNvSpPr txBox="1"/>
          <p:nvPr userDrawn="1"/>
        </p:nvSpPr>
        <p:spPr>
          <a:xfrm>
            <a:off x="960595" y="932421"/>
            <a:ext cx="6442075" cy="6564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defTabSz="1218824">
              <a:defRPr/>
            </a:pPr>
            <a:r>
              <a:rPr lang="pt-BR" sz="2133" b="1" kern="0" dirty="0">
                <a:solidFill>
                  <a:srgbClr val="000000"/>
                </a:solidFill>
              </a:rPr>
              <a:t>Cores Institucionais Petrobras</a:t>
            </a:r>
          </a:p>
          <a:p>
            <a:pPr marL="0" lvl="1" defTabSz="1218824">
              <a:defRPr/>
            </a:pPr>
            <a:r>
              <a:rPr lang="pt-BR" sz="2133" b="1" kern="0" dirty="0">
                <a:solidFill>
                  <a:srgbClr val="FFC000"/>
                </a:solidFill>
              </a:rPr>
              <a:t>—</a:t>
            </a:r>
          </a:p>
        </p:txBody>
      </p:sp>
      <p:sp>
        <p:nvSpPr>
          <p:cNvPr id="238" name="CaixaDeTexto 237"/>
          <p:cNvSpPr txBox="1"/>
          <p:nvPr userDrawn="1"/>
        </p:nvSpPr>
        <p:spPr>
          <a:xfrm>
            <a:off x="983374" y="509525"/>
            <a:ext cx="3981952" cy="205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defTabSz="1218824">
              <a:defRPr/>
            </a:pPr>
            <a:r>
              <a:rPr lang="pt-BR" sz="1333" b="1" kern="0" dirty="0">
                <a:solidFill>
                  <a:srgbClr val="000000"/>
                </a:solidFill>
              </a:rPr>
              <a:t>Informações adicionais</a:t>
            </a:r>
            <a:endParaRPr lang="pt-BR" sz="1333" b="1" kern="0" dirty="0">
              <a:solidFill>
                <a:srgbClr val="FFC000"/>
              </a:solidFill>
            </a:endParaRPr>
          </a:p>
        </p:txBody>
      </p:sp>
      <p:pic>
        <p:nvPicPr>
          <p:cNvPr id="462" name="Imagem 46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3784" y="258202"/>
            <a:ext cx="1985133" cy="575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9584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NÃO UTILIZE] Instruçõe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CaixaDeTexto 222"/>
          <p:cNvSpPr txBox="1"/>
          <p:nvPr userDrawn="1"/>
        </p:nvSpPr>
        <p:spPr>
          <a:xfrm>
            <a:off x="959666" y="932421"/>
            <a:ext cx="6442075" cy="6564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defTabSz="1218824">
              <a:defRPr/>
            </a:pPr>
            <a:r>
              <a:rPr lang="pt-BR" sz="2133" b="1" kern="0" dirty="0">
                <a:solidFill>
                  <a:srgbClr val="000000"/>
                </a:solidFill>
              </a:rPr>
              <a:t>Cores Institucionais Petrobras</a:t>
            </a:r>
          </a:p>
          <a:p>
            <a:pPr marL="0" lvl="1" defTabSz="1218824">
              <a:defRPr/>
            </a:pPr>
            <a:r>
              <a:rPr lang="pt-BR" sz="2133" b="1" kern="0" dirty="0">
                <a:solidFill>
                  <a:srgbClr val="FFC000"/>
                </a:solidFill>
              </a:rPr>
              <a:t>—</a:t>
            </a:r>
          </a:p>
        </p:txBody>
      </p:sp>
      <p:sp>
        <p:nvSpPr>
          <p:cNvPr id="224" name="CaixaDeTexto 223"/>
          <p:cNvSpPr txBox="1"/>
          <p:nvPr userDrawn="1"/>
        </p:nvSpPr>
        <p:spPr>
          <a:xfrm>
            <a:off x="982445" y="509525"/>
            <a:ext cx="3981952" cy="205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defTabSz="1218824">
              <a:defRPr/>
            </a:pPr>
            <a:r>
              <a:rPr lang="pt-BR" sz="1333" b="1" kern="0" dirty="0">
                <a:solidFill>
                  <a:srgbClr val="000000"/>
                </a:solidFill>
              </a:rPr>
              <a:t>Informações adicionais</a:t>
            </a:r>
            <a:endParaRPr lang="pt-BR" sz="1333" b="1" kern="0" dirty="0">
              <a:solidFill>
                <a:srgbClr val="FFC000"/>
              </a:solidFill>
            </a:endParaRPr>
          </a:p>
        </p:txBody>
      </p:sp>
      <p:grpSp>
        <p:nvGrpSpPr>
          <p:cNvPr id="212" name="Grupo 211"/>
          <p:cNvGrpSpPr/>
          <p:nvPr userDrawn="1"/>
        </p:nvGrpSpPr>
        <p:grpSpPr>
          <a:xfrm>
            <a:off x="8212983" y="4233605"/>
            <a:ext cx="1974653" cy="1553910"/>
            <a:chOff x="5175943" y="3306074"/>
            <a:chExt cx="1323644" cy="1165792"/>
          </a:xfrm>
        </p:grpSpPr>
        <p:cxnSp>
          <p:nvCxnSpPr>
            <p:cNvPr id="368" name="Conector Reto 367"/>
            <p:cNvCxnSpPr/>
            <p:nvPr/>
          </p:nvCxnSpPr>
          <p:spPr>
            <a:xfrm>
              <a:off x="5175943" y="3448333"/>
              <a:ext cx="1323644" cy="0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9" name="Grupo 368"/>
            <p:cNvGrpSpPr/>
            <p:nvPr/>
          </p:nvGrpSpPr>
          <p:grpSpPr>
            <a:xfrm>
              <a:off x="5175943" y="3306074"/>
              <a:ext cx="576206" cy="141269"/>
              <a:chOff x="2396971" y="3621064"/>
              <a:chExt cx="870513" cy="263332"/>
            </a:xfrm>
          </p:grpSpPr>
          <p:sp>
            <p:nvSpPr>
              <p:cNvPr id="416" name="Retângulo 415"/>
              <p:cNvSpPr/>
              <p:nvPr/>
            </p:nvSpPr>
            <p:spPr>
              <a:xfrm>
                <a:off x="2687142" y="3621064"/>
                <a:ext cx="290171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417" name="Retângulo 416"/>
              <p:cNvSpPr/>
              <p:nvPr/>
            </p:nvSpPr>
            <p:spPr>
              <a:xfrm>
                <a:off x="2396971" y="3621064"/>
                <a:ext cx="290171" cy="20018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418" name="Retângulo 417"/>
              <p:cNvSpPr/>
              <p:nvPr/>
            </p:nvSpPr>
            <p:spPr>
              <a:xfrm>
                <a:off x="2977313" y="3621064"/>
                <a:ext cx="290171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419" name="Retângulo 418"/>
              <p:cNvSpPr/>
              <p:nvPr/>
            </p:nvSpPr>
            <p:spPr>
              <a:xfrm>
                <a:off x="2396971" y="3821245"/>
                <a:ext cx="290171" cy="6315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70" name="Grupo 369"/>
            <p:cNvGrpSpPr/>
            <p:nvPr/>
          </p:nvGrpSpPr>
          <p:grpSpPr>
            <a:xfrm>
              <a:off x="5923381" y="3306074"/>
              <a:ext cx="576206" cy="141269"/>
              <a:chOff x="2396971" y="3621064"/>
              <a:chExt cx="870513" cy="263332"/>
            </a:xfrm>
          </p:grpSpPr>
          <p:sp>
            <p:nvSpPr>
              <p:cNvPr id="412" name="Retângulo 411"/>
              <p:cNvSpPr/>
              <p:nvPr/>
            </p:nvSpPr>
            <p:spPr>
              <a:xfrm>
                <a:off x="2687142" y="3621064"/>
                <a:ext cx="290171" cy="20018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413" name="Retângulo 412"/>
              <p:cNvSpPr/>
              <p:nvPr/>
            </p:nvSpPr>
            <p:spPr>
              <a:xfrm>
                <a:off x="2396971" y="3621064"/>
                <a:ext cx="290171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414" name="Retângulo 413"/>
              <p:cNvSpPr/>
              <p:nvPr/>
            </p:nvSpPr>
            <p:spPr>
              <a:xfrm>
                <a:off x="2977313" y="3621064"/>
                <a:ext cx="290171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415" name="Retângulo 414"/>
              <p:cNvSpPr/>
              <p:nvPr/>
            </p:nvSpPr>
            <p:spPr>
              <a:xfrm>
                <a:off x="2396971" y="3821245"/>
                <a:ext cx="290171" cy="6315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cxnSp>
          <p:nvCxnSpPr>
            <p:cNvPr id="371" name="Conector Reto 370"/>
            <p:cNvCxnSpPr/>
            <p:nvPr/>
          </p:nvCxnSpPr>
          <p:spPr>
            <a:xfrm>
              <a:off x="5175943" y="3617949"/>
              <a:ext cx="1323644" cy="0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2" name="Grupo 371"/>
            <p:cNvGrpSpPr/>
            <p:nvPr/>
          </p:nvGrpSpPr>
          <p:grpSpPr>
            <a:xfrm>
              <a:off x="5175943" y="3475690"/>
              <a:ext cx="576206" cy="141269"/>
              <a:chOff x="2396971" y="3621064"/>
              <a:chExt cx="870513" cy="263332"/>
            </a:xfrm>
          </p:grpSpPr>
          <p:sp>
            <p:nvSpPr>
              <p:cNvPr id="408" name="Retângulo 407"/>
              <p:cNvSpPr/>
              <p:nvPr/>
            </p:nvSpPr>
            <p:spPr>
              <a:xfrm>
                <a:off x="2687142" y="3621064"/>
                <a:ext cx="290171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409" name="Retângulo 408"/>
              <p:cNvSpPr/>
              <p:nvPr/>
            </p:nvSpPr>
            <p:spPr>
              <a:xfrm>
                <a:off x="2396971" y="3621064"/>
                <a:ext cx="290171" cy="20018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410" name="Retângulo 409"/>
              <p:cNvSpPr/>
              <p:nvPr/>
            </p:nvSpPr>
            <p:spPr>
              <a:xfrm>
                <a:off x="2977313" y="3621064"/>
                <a:ext cx="290171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411" name="Retângulo 410"/>
              <p:cNvSpPr/>
              <p:nvPr/>
            </p:nvSpPr>
            <p:spPr>
              <a:xfrm>
                <a:off x="2396971" y="3821245"/>
                <a:ext cx="290171" cy="63151"/>
              </a:xfrm>
              <a:prstGeom prst="rect">
                <a:avLst/>
              </a:prstGeom>
              <a:solidFill>
                <a:srgbClr val="C4D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73" name="Grupo 372"/>
            <p:cNvGrpSpPr/>
            <p:nvPr/>
          </p:nvGrpSpPr>
          <p:grpSpPr>
            <a:xfrm>
              <a:off x="5923381" y="3475690"/>
              <a:ext cx="576206" cy="141269"/>
              <a:chOff x="2396971" y="3621064"/>
              <a:chExt cx="870513" cy="263332"/>
            </a:xfrm>
          </p:grpSpPr>
          <p:sp>
            <p:nvSpPr>
              <p:cNvPr id="404" name="Retângulo 403"/>
              <p:cNvSpPr/>
              <p:nvPr/>
            </p:nvSpPr>
            <p:spPr>
              <a:xfrm>
                <a:off x="2687142" y="3621064"/>
                <a:ext cx="290171" cy="20018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405" name="Retângulo 404"/>
              <p:cNvSpPr/>
              <p:nvPr/>
            </p:nvSpPr>
            <p:spPr>
              <a:xfrm>
                <a:off x="2396971" y="3621064"/>
                <a:ext cx="290171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406" name="Retângulo 405"/>
              <p:cNvSpPr/>
              <p:nvPr/>
            </p:nvSpPr>
            <p:spPr>
              <a:xfrm>
                <a:off x="2977313" y="3621064"/>
                <a:ext cx="290171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407" name="Retângulo 406"/>
              <p:cNvSpPr/>
              <p:nvPr/>
            </p:nvSpPr>
            <p:spPr>
              <a:xfrm>
                <a:off x="2396971" y="3821245"/>
                <a:ext cx="290171" cy="63151"/>
              </a:xfrm>
              <a:prstGeom prst="rect">
                <a:avLst/>
              </a:prstGeom>
              <a:solidFill>
                <a:srgbClr val="C4D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cxnSp>
          <p:nvCxnSpPr>
            <p:cNvPr id="374" name="Conector Reto 373"/>
            <p:cNvCxnSpPr/>
            <p:nvPr/>
          </p:nvCxnSpPr>
          <p:spPr>
            <a:xfrm>
              <a:off x="5175943" y="3789884"/>
              <a:ext cx="1323644" cy="0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5" name="Grupo 374"/>
            <p:cNvGrpSpPr/>
            <p:nvPr/>
          </p:nvGrpSpPr>
          <p:grpSpPr>
            <a:xfrm>
              <a:off x="5175943" y="3647625"/>
              <a:ext cx="576206" cy="141269"/>
              <a:chOff x="2396971" y="3621064"/>
              <a:chExt cx="870513" cy="263332"/>
            </a:xfrm>
          </p:grpSpPr>
          <p:sp>
            <p:nvSpPr>
              <p:cNvPr id="400" name="Retângulo 399"/>
              <p:cNvSpPr/>
              <p:nvPr/>
            </p:nvSpPr>
            <p:spPr>
              <a:xfrm>
                <a:off x="2687142" y="3621064"/>
                <a:ext cx="290171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401" name="Retângulo 400"/>
              <p:cNvSpPr/>
              <p:nvPr/>
            </p:nvSpPr>
            <p:spPr>
              <a:xfrm>
                <a:off x="2396971" y="3621064"/>
                <a:ext cx="290171" cy="20018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402" name="Retângulo 401"/>
              <p:cNvSpPr/>
              <p:nvPr/>
            </p:nvSpPr>
            <p:spPr>
              <a:xfrm>
                <a:off x="2977313" y="3621064"/>
                <a:ext cx="290171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403" name="Retângulo 402"/>
              <p:cNvSpPr/>
              <p:nvPr/>
            </p:nvSpPr>
            <p:spPr>
              <a:xfrm>
                <a:off x="2396971" y="3821245"/>
                <a:ext cx="290171" cy="63151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cxnSp>
          <p:nvCxnSpPr>
            <p:cNvPr id="376" name="Conector Reto 375"/>
            <p:cNvCxnSpPr/>
            <p:nvPr/>
          </p:nvCxnSpPr>
          <p:spPr>
            <a:xfrm>
              <a:off x="5175943" y="3959500"/>
              <a:ext cx="1323644" cy="0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7" name="Grupo 376"/>
            <p:cNvGrpSpPr/>
            <p:nvPr/>
          </p:nvGrpSpPr>
          <p:grpSpPr>
            <a:xfrm>
              <a:off x="5175943" y="3817241"/>
              <a:ext cx="576206" cy="141269"/>
              <a:chOff x="2396971" y="3621064"/>
              <a:chExt cx="870513" cy="263332"/>
            </a:xfrm>
          </p:grpSpPr>
          <p:sp>
            <p:nvSpPr>
              <p:cNvPr id="396" name="Retângulo 395"/>
              <p:cNvSpPr/>
              <p:nvPr/>
            </p:nvSpPr>
            <p:spPr>
              <a:xfrm>
                <a:off x="2687142" y="3621064"/>
                <a:ext cx="290171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97" name="Retângulo 396"/>
              <p:cNvSpPr/>
              <p:nvPr/>
            </p:nvSpPr>
            <p:spPr>
              <a:xfrm>
                <a:off x="2396971" y="3621064"/>
                <a:ext cx="290171" cy="20018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98" name="Retângulo 397"/>
              <p:cNvSpPr/>
              <p:nvPr/>
            </p:nvSpPr>
            <p:spPr>
              <a:xfrm>
                <a:off x="2977313" y="3621064"/>
                <a:ext cx="290171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99" name="Retângulo 398"/>
              <p:cNvSpPr/>
              <p:nvPr/>
            </p:nvSpPr>
            <p:spPr>
              <a:xfrm>
                <a:off x="2396971" y="3821245"/>
                <a:ext cx="290171" cy="63151"/>
              </a:xfrm>
              <a:prstGeom prst="rect">
                <a:avLst/>
              </a:prstGeom>
              <a:solidFill>
                <a:srgbClr val="ED8B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cxnSp>
          <p:nvCxnSpPr>
            <p:cNvPr id="378" name="Conector Reto 377"/>
            <p:cNvCxnSpPr/>
            <p:nvPr/>
          </p:nvCxnSpPr>
          <p:spPr>
            <a:xfrm>
              <a:off x="5175943" y="4129117"/>
              <a:ext cx="1323644" cy="0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9" name="Grupo 378"/>
            <p:cNvGrpSpPr/>
            <p:nvPr/>
          </p:nvGrpSpPr>
          <p:grpSpPr>
            <a:xfrm>
              <a:off x="5175943" y="3986857"/>
              <a:ext cx="576206" cy="141269"/>
              <a:chOff x="2396971" y="3621064"/>
              <a:chExt cx="870513" cy="263332"/>
            </a:xfrm>
          </p:grpSpPr>
          <p:sp>
            <p:nvSpPr>
              <p:cNvPr id="392" name="Retângulo 391"/>
              <p:cNvSpPr/>
              <p:nvPr/>
            </p:nvSpPr>
            <p:spPr>
              <a:xfrm>
                <a:off x="2687142" y="3621064"/>
                <a:ext cx="290171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93" name="Retângulo 392"/>
              <p:cNvSpPr/>
              <p:nvPr/>
            </p:nvSpPr>
            <p:spPr>
              <a:xfrm>
                <a:off x="2396971" y="3621064"/>
                <a:ext cx="290171" cy="20018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94" name="Retângulo 393"/>
              <p:cNvSpPr/>
              <p:nvPr/>
            </p:nvSpPr>
            <p:spPr>
              <a:xfrm>
                <a:off x="2977313" y="3621064"/>
                <a:ext cx="290171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95" name="Retângulo 394"/>
              <p:cNvSpPr/>
              <p:nvPr/>
            </p:nvSpPr>
            <p:spPr>
              <a:xfrm>
                <a:off x="2396971" y="3821245"/>
                <a:ext cx="290171" cy="63151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cxnSp>
          <p:nvCxnSpPr>
            <p:cNvPr id="380" name="Conector Reto 379"/>
            <p:cNvCxnSpPr/>
            <p:nvPr/>
          </p:nvCxnSpPr>
          <p:spPr>
            <a:xfrm>
              <a:off x="5175943" y="4298733"/>
              <a:ext cx="1323644" cy="0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81" name="Grupo 380"/>
            <p:cNvGrpSpPr/>
            <p:nvPr/>
          </p:nvGrpSpPr>
          <p:grpSpPr>
            <a:xfrm>
              <a:off x="5175943" y="4156473"/>
              <a:ext cx="576206" cy="141269"/>
              <a:chOff x="2396971" y="3621064"/>
              <a:chExt cx="870513" cy="263332"/>
            </a:xfrm>
          </p:grpSpPr>
          <p:sp>
            <p:nvSpPr>
              <p:cNvPr id="388" name="Retângulo 387"/>
              <p:cNvSpPr/>
              <p:nvPr/>
            </p:nvSpPr>
            <p:spPr>
              <a:xfrm>
                <a:off x="2687142" y="3621064"/>
                <a:ext cx="290171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89" name="Retângulo 388"/>
              <p:cNvSpPr/>
              <p:nvPr/>
            </p:nvSpPr>
            <p:spPr>
              <a:xfrm>
                <a:off x="2396971" y="3621064"/>
                <a:ext cx="290171" cy="20018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90" name="Retângulo 389"/>
              <p:cNvSpPr/>
              <p:nvPr/>
            </p:nvSpPr>
            <p:spPr>
              <a:xfrm>
                <a:off x="2977313" y="3621064"/>
                <a:ext cx="290171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91" name="Retângulo 390"/>
              <p:cNvSpPr/>
              <p:nvPr/>
            </p:nvSpPr>
            <p:spPr>
              <a:xfrm>
                <a:off x="2396971" y="3821245"/>
                <a:ext cx="290171" cy="63151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cxnSp>
          <p:nvCxnSpPr>
            <p:cNvPr id="382" name="Conector Reto 381"/>
            <p:cNvCxnSpPr/>
            <p:nvPr/>
          </p:nvCxnSpPr>
          <p:spPr>
            <a:xfrm>
              <a:off x="5175943" y="4471866"/>
              <a:ext cx="1323644" cy="0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83" name="Grupo 382"/>
            <p:cNvGrpSpPr/>
            <p:nvPr/>
          </p:nvGrpSpPr>
          <p:grpSpPr>
            <a:xfrm>
              <a:off x="5175943" y="4329607"/>
              <a:ext cx="576206" cy="141269"/>
              <a:chOff x="2396971" y="3621064"/>
              <a:chExt cx="870513" cy="263332"/>
            </a:xfrm>
          </p:grpSpPr>
          <p:sp>
            <p:nvSpPr>
              <p:cNvPr id="384" name="Retângulo 383"/>
              <p:cNvSpPr/>
              <p:nvPr/>
            </p:nvSpPr>
            <p:spPr>
              <a:xfrm>
                <a:off x="2687142" y="3621064"/>
                <a:ext cx="290171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85" name="Retângulo 384"/>
              <p:cNvSpPr/>
              <p:nvPr/>
            </p:nvSpPr>
            <p:spPr>
              <a:xfrm>
                <a:off x="2396971" y="3621064"/>
                <a:ext cx="290171" cy="20018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86" name="Retângulo 385"/>
              <p:cNvSpPr/>
              <p:nvPr/>
            </p:nvSpPr>
            <p:spPr>
              <a:xfrm>
                <a:off x="2977313" y="3621064"/>
                <a:ext cx="290171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87" name="Retângulo 386"/>
              <p:cNvSpPr/>
              <p:nvPr/>
            </p:nvSpPr>
            <p:spPr>
              <a:xfrm>
                <a:off x="2396971" y="3821245"/>
                <a:ext cx="290171" cy="63151"/>
              </a:xfrm>
              <a:prstGeom prst="rect">
                <a:avLst/>
              </a:prstGeom>
              <a:solidFill>
                <a:srgbClr val="7D9A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</p:grpSp>
      <p:grpSp>
        <p:nvGrpSpPr>
          <p:cNvPr id="213" name="Grupo 212"/>
          <p:cNvGrpSpPr/>
          <p:nvPr userDrawn="1"/>
        </p:nvGrpSpPr>
        <p:grpSpPr>
          <a:xfrm>
            <a:off x="4374318" y="4233606"/>
            <a:ext cx="642621" cy="1733519"/>
            <a:chOff x="2435703" y="3306074"/>
            <a:chExt cx="316127" cy="1300541"/>
          </a:xfrm>
        </p:grpSpPr>
        <p:sp>
          <p:nvSpPr>
            <p:cNvPr id="360" name="Retângulo 359"/>
            <p:cNvSpPr/>
            <p:nvPr/>
          </p:nvSpPr>
          <p:spPr>
            <a:xfrm>
              <a:off x="2435703" y="3306074"/>
              <a:ext cx="316127" cy="1073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>
                <a:solidFill>
                  <a:schemeClr val="tx2"/>
                </a:solidFill>
              </a:endParaRPr>
            </a:p>
          </p:txBody>
        </p:sp>
        <p:sp>
          <p:nvSpPr>
            <p:cNvPr id="361" name="Retângulo 360"/>
            <p:cNvSpPr/>
            <p:nvPr/>
          </p:nvSpPr>
          <p:spPr>
            <a:xfrm>
              <a:off x="2435703" y="3475690"/>
              <a:ext cx="316127" cy="107391"/>
            </a:xfrm>
            <a:prstGeom prst="rect">
              <a:avLst/>
            </a:prstGeom>
            <a:solidFill>
              <a:srgbClr val="C4D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>
                <a:solidFill>
                  <a:schemeClr val="tx2"/>
                </a:solidFill>
              </a:endParaRPr>
            </a:p>
          </p:txBody>
        </p:sp>
        <p:sp>
          <p:nvSpPr>
            <p:cNvPr id="362" name="Retângulo 361"/>
            <p:cNvSpPr/>
            <p:nvPr/>
          </p:nvSpPr>
          <p:spPr>
            <a:xfrm>
              <a:off x="2435703" y="3647625"/>
              <a:ext cx="316127" cy="1073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>
                <a:solidFill>
                  <a:schemeClr val="tx2"/>
                </a:solidFill>
              </a:endParaRPr>
            </a:p>
          </p:txBody>
        </p:sp>
        <p:sp>
          <p:nvSpPr>
            <p:cNvPr id="363" name="Retângulo 362"/>
            <p:cNvSpPr/>
            <p:nvPr/>
          </p:nvSpPr>
          <p:spPr>
            <a:xfrm>
              <a:off x="2435703" y="3817241"/>
              <a:ext cx="316127" cy="107391"/>
            </a:xfrm>
            <a:prstGeom prst="rect">
              <a:avLst/>
            </a:prstGeom>
            <a:solidFill>
              <a:srgbClr val="ED8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 dirty="0">
                <a:solidFill>
                  <a:schemeClr val="tx2"/>
                </a:solidFill>
              </a:endParaRPr>
            </a:p>
          </p:txBody>
        </p:sp>
        <p:sp>
          <p:nvSpPr>
            <p:cNvPr id="364" name="Retângulo 363"/>
            <p:cNvSpPr/>
            <p:nvPr/>
          </p:nvSpPr>
          <p:spPr>
            <a:xfrm>
              <a:off x="2435703" y="3986857"/>
              <a:ext cx="316127" cy="1073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>
                <a:solidFill>
                  <a:schemeClr val="tx2"/>
                </a:solidFill>
              </a:endParaRPr>
            </a:p>
          </p:txBody>
        </p:sp>
        <p:sp>
          <p:nvSpPr>
            <p:cNvPr id="365" name="Retângulo 364"/>
            <p:cNvSpPr/>
            <p:nvPr/>
          </p:nvSpPr>
          <p:spPr>
            <a:xfrm>
              <a:off x="2435703" y="4156473"/>
              <a:ext cx="316127" cy="107391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>
                <a:solidFill>
                  <a:schemeClr val="tx2"/>
                </a:solidFill>
              </a:endParaRPr>
            </a:p>
          </p:txBody>
        </p:sp>
        <p:sp>
          <p:nvSpPr>
            <p:cNvPr id="366" name="Retângulo 365"/>
            <p:cNvSpPr/>
            <p:nvPr/>
          </p:nvSpPr>
          <p:spPr>
            <a:xfrm>
              <a:off x="2435703" y="4329607"/>
              <a:ext cx="316127" cy="107391"/>
            </a:xfrm>
            <a:prstGeom prst="rect">
              <a:avLst/>
            </a:prstGeom>
            <a:solidFill>
              <a:srgbClr val="7D9A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>
                <a:solidFill>
                  <a:schemeClr val="tx2"/>
                </a:solidFill>
              </a:endParaRPr>
            </a:p>
          </p:txBody>
        </p:sp>
        <p:sp>
          <p:nvSpPr>
            <p:cNvPr id="367" name="Retângulo 366"/>
            <p:cNvSpPr/>
            <p:nvPr/>
          </p:nvSpPr>
          <p:spPr>
            <a:xfrm>
              <a:off x="2435703" y="4499224"/>
              <a:ext cx="316127" cy="107391"/>
            </a:xfrm>
            <a:prstGeom prst="rect">
              <a:avLst/>
            </a:prstGeom>
            <a:solidFill>
              <a:srgbClr val="0041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>
                <a:solidFill>
                  <a:schemeClr val="tx2"/>
                </a:solidFill>
              </a:endParaRPr>
            </a:p>
          </p:txBody>
        </p:sp>
      </p:grpSp>
      <p:grpSp>
        <p:nvGrpSpPr>
          <p:cNvPr id="214" name="Grupo 213"/>
          <p:cNvGrpSpPr/>
          <p:nvPr userDrawn="1"/>
        </p:nvGrpSpPr>
        <p:grpSpPr>
          <a:xfrm>
            <a:off x="5330436" y="4233601"/>
            <a:ext cx="2548320" cy="1746453"/>
            <a:chOff x="2943898" y="3306071"/>
            <a:chExt cx="2023754" cy="1310244"/>
          </a:xfrm>
        </p:grpSpPr>
        <p:grpSp>
          <p:nvGrpSpPr>
            <p:cNvPr id="273" name="Grupo 272"/>
            <p:cNvGrpSpPr/>
            <p:nvPr/>
          </p:nvGrpSpPr>
          <p:grpSpPr>
            <a:xfrm>
              <a:off x="2981635" y="3306071"/>
              <a:ext cx="596138" cy="119408"/>
              <a:chOff x="1340727" y="2983197"/>
              <a:chExt cx="900626" cy="266384"/>
            </a:xfrm>
          </p:grpSpPr>
          <p:sp>
            <p:nvSpPr>
              <p:cNvPr id="357" name="Retângulo 356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58" name="Retângulo 357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59" name="Retângulo 358"/>
              <p:cNvSpPr/>
              <p:nvPr/>
            </p:nvSpPr>
            <p:spPr>
              <a:xfrm>
                <a:off x="1340727" y="3183375"/>
                <a:ext cx="450313" cy="6620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cxnSp>
          <p:nvCxnSpPr>
            <p:cNvPr id="274" name="Conector Reto 273"/>
            <p:cNvCxnSpPr/>
            <p:nvPr/>
          </p:nvCxnSpPr>
          <p:spPr>
            <a:xfrm>
              <a:off x="2943898" y="3448333"/>
              <a:ext cx="2023754" cy="0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5" name="Grupo 274"/>
            <p:cNvGrpSpPr/>
            <p:nvPr/>
          </p:nvGrpSpPr>
          <p:grpSpPr>
            <a:xfrm>
              <a:off x="3680779" y="3306071"/>
              <a:ext cx="596138" cy="119408"/>
              <a:chOff x="1340727" y="2983197"/>
              <a:chExt cx="900626" cy="266384"/>
            </a:xfrm>
          </p:grpSpPr>
          <p:sp>
            <p:nvSpPr>
              <p:cNvPr id="354" name="Retângulo 353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55" name="Retângulo 354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56" name="Retângulo 355"/>
              <p:cNvSpPr/>
              <p:nvPr/>
            </p:nvSpPr>
            <p:spPr>
              <a:xfrm>
                <a:off x="1340727" y="3183375"/>
                <a:ext cx="450313" cy="6620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76" name="Grupo 275"/>
            <p:cNvGrpSpPr/>
            <p:nvPr/>
          </p:nvGrpSpPr>
          <p:grpSpPr>
            <a:xfrm>
              <a:off x="4370093" y="3306071"/>
              <a:ext cx="596138" cy="119408"/>
              <a:chOff x="1340727" y="2983197"/>
              <a:chExt cx="900626" cy="266384"/>
            </a:xfrm>
          </p:grpSpPr>
          <p:sp>
            <p:nvSpPr>
              <p:cNvPr id="351" name="Retângulo 350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52" name="Retângulo 351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53" name="Retângulo 352"/>
              <p:cNvSpPr/>
              <p:nvPr/>
            </p:nvSpPr>
            <p:spPr>
              <a:xfrm>
                <a:off x="1340727" y="3183375"/>
                <a:ext cx="450313" cy="6620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77" name="Grupo 276"/>
            <p:cNvGrpSpPr/>
            <p:nvPr/>
          </p:nvGrpSpPr>
          <p:grpSpPr>
            <a:xfrm>
              <a:off x="2981635" y="3475692"/>
              <a:ext cx="596138" cy="119405"/>
              <a:chOff x="1340727" y="2983197"/>
              <a:chExt cx="900626" cy="266376"/>
            </a:xfrm>
          </p:grpSpPr>
          <p:sp>
            <p:nvSpPr>
              <p:cNvPr id="348" name="Retângulo 347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49" name="Retângulo 348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50" name="Retângulo 349"/>
              <p:cNvSpPr/>
              <p:nvPr/>
            </p:nvSpPr>
            <p:spPr>
              <a:xfrm>
                <a:off x="1340727" y="3183375"/>
                <a:ext cx="450313" cy="66198"/>
              </a:xfrm>
              <a:prstGeom prst="rect">
                <a:avLst/>
              </a:prstGeom>
              <a:solidFill>
                <a:srgbClr val="C4D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cxnSp>
          <p:nvCxnSpPr>
            <p:cNvPr id="278" name="Conector Reto 277"/>
            <p:cNvCxnSpPr/>
            <p:nvPr/>
          </p:nvCxnSpPr>
          <p:spPr>
            <a:xfrm>
              <a:off x="2943898" y="3617949"/>
              <a:ext cx="2023754" cy="0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9" name="Grupo 278"/>
            <p:cNvGrpSpPr/>
            <p:nvPr/>
          </p:nvGrpSpPr>
          <p:grpSpPr>
            <a:xfrm>
              <a:off x="3680779" y="3475692"/>
              <a:ext cx="596138" cy="119405"/>
              <a:chOff x="1340727" y="2983197"/>
              <a:chExt cx="900626" cy="266376"/>
            </a:xfrm>
          </p:grpSpPr>
          <p:sp>
            <p:nvSpPr>
              <p:cNvPr id="345" name="Retângulo 344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46" name="Retângulo 345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47" name="Retângulo 346"/>
              <p:cNvSpPr/>
              <p:nvPr/>
            </p:nvSpPr>
            <p:spPr>
              <a:xfrm>
                <a:off x="1340727" y="3183375"/>
                <a:ext cx="450313" cy="66198"/>
              </a:xfrm>
              <a:prstGeom prst="rect">
                <a:avLst/>
              </a:prstGeom>
              <a:solidFill>
                <a:srgbClr val="C4D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80" name="Grupo 279"/>
            <p:cNvGrpSpPr/>
            <p:nvPr/>
          </p:nvGrpSpPr>
          <p:grpSpPr>
            <a:xfrm>
              <a:off x="4370093" y="3475692"/>
              <a:ext cx="596138" cy="119405"/>
              <a:chOff x="1340727" y="2983197"/>
              <a:chExt cx="900626" cy="266376"/>
            </a:xfrm>
          </p:grpSpPr>
          <p:sp>
            <p:nvSpPr>
              <p:cNvPr id="342" name="Retângulo 341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43" name="Retângulo 342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44" name="Retângulo 343"/>
              <p:cNvSpPr/>
              <p:nvPr/>
            </p:nvSpPr>
            <p:spPr>
              <a:xfrm>
                <a:off x="1340727" y="3183375"/>
                <a:ext cx="450313" cy="66198"/>
              </a:xfrm>
              <a:prstGeom prst="rect">
                <a:avLst/>
              </a:prstGeom>
              <a:solidFill>
                <a:srgbClr val="C4D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81" name="Grupo 280"/>
            <p:cNvGrpSpPr/>
            <p:nvPr/>
          </p:nvGrpSpPr>
          <p:grpSpPr>
            <a:xfrm>
              <a:off x="2981635" y="3647623"/>
              <a:ext cx="596138" cy="119405"/>
              <a:chOff x="1340727" y="2983197"/>
              <a:chExt cx="900626" cy="266378"/>
            </a:xfrm>
          </p:grpSpPr>
          <p:sp>
            <p:nvSpPr>
              <p:cNvPr id="339" name="Retângulo 338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40" name="Retângulo 339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41" name="Retângulo 340"/>
              <p:cNvSpPr/>
              <p:nvPr/>
            </p:nvSpPr>
            <p:spPr>
              <a:xfrm>
                <a:off x="1340727" y="3183375"/>
                <a:ext cx="450313" cy="662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cxnSp>
          <p:nvCxnSpPr>
            <p:cNvPr id="282" name="Conector Reto 281"/>
            <p:cNvCxnSpPr/>
            <p:nvPr/>
          </p:nvCxnSpPr>
          <p:spPr>
            <a:xfrm>
              <a:off x="2943898" y="3789884"/>
              <a:ext cx="2023754" cy="0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3" name="Grupo 282"/>
            <p:cNvGrpSpPr/>
            <p:nvPr/>
          </p:nvGrpSpPr>
          <p:grpSpPr>
            <a:xfrm>
              <a:off x="3680779" y="3647623"/>
              <a:ext cx="596138" cy="119405"/>
              <a:chOff x="1340727" y="2983197"/>
              <a:chExt cx="900626" cy="266378"/>
            </a:xfrm>
          </p:grpSpPr>
          <p:sp>
            <p:nvSpPr>
              <p:cNvPr id="336" name="Retângulo 335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37" name="Retângulo 336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38" name="Retângulo 337"/>
              <p:cNvSpPr/>
              <p:nvPr/>
            </p:nvSpPr>
            <p:spPr>
              <a:xfrm>
                <a:off x="1340727" y="3183375"/>
                <a:ext cx="450313" cy="662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84" name="Grupo 283"/>
            <p:cNvGrpSpPr/>
            <p:nvPr/>
          </p:nvGrpSpPr>
          <p:grpSpPr>
            <a:xfrm>
              <a:off x="2981635" y="3817244"/>
              <a:ext cx="596138" cy="119403"/>
              <a:chOff x="1340727" y="2983197"/>
              <a:chExt cx="900626" cy="266371"/>
            </a:xfrm>
          </p:grpSpPr>
          <p:sp>
            <p:nvSpPr>
              <p:cNvPr id="333" name="Retângulo 332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34" name="Retângulo 333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35" name="Retângulo 334"/>
              <p:cNvSpPr/>
              <p:nvPr/>
            </p:nvSpPr>
            <p:spPr>
              <a:xfrm>
                <a:off x="1340727" y="3183375"/>
                <a:ext cx="450313" cy="66193"/>
              </a:xfrm>
              <a:prstGeom prst="rect">
                <a:avLst/>
              </a:prstGeom>
              <a:solidFill>
                <a:srgbClr val="ED8B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cxnSp>
          <p:nvCxnSpPr>
            <p:cNvPr id="285" name="Conector Reto 284"/>
            <p:cNvCxnSpPr/>
            <p:nvPr/>
          </p:nvCxnSpPr>
          <p:spPr>
            <a:xfrm>
              <a:off x="2943898" y="3959500"/>
              <a:ext cx="2023754" cy="0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6" name="Grupo 285"/>
            <p:cNvGrpSpPr/>
            <p:nvPr/>
          </p:nvGrpSpPr>
          <p:grpSpPr>
            <a:xfrm>
              <a:off x="3680779" y="3817244"/>
              <a:ext cx="596138" cy="119403"/>
              <a:chOff x="1340727" y="2983197"/>
              <a:chExt cx="900626" cy="266371"/>
            </a:xfrm>
          </p:grpSpPr>
          <p:sp>
            <p:nvSpPr>
              <p:cNvPr id="330" name="Retângulo 329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31" name="Retângulo 330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32" name="Retângulo 331"/>
              <p:cNvSpPr/>
              <p:nvPr/>
            </p:nvSpPr>
            <p:spPr>
              <a:xfrm>
                <a:off x="1340727" y="3183375"/>
                <a:ext cx="450313" cy="66193"/>
              </a:xfrm>
              <a:prstGeom prst="rect">
                <a:avLst/>
              </a:prstGeom>
              <a:solidFill>
                <a:srgbClr val="ED8B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87" name="Grupo 286"/>
            <p:cNvGrpSpPr/>
            <p:nvPr/>
          </p:nvGrpSpPr>
          <p:grpSpPr>
            <a:xfrm>
              <a:off x="2981635" y="3986857"/>
              <a:ext cx="596138" cy="114903"/>
              <a:chOff x="1340727" y="2983197"/>
              <a:chExt cx="900626" cy="256333"/>
            </a:xfrm>
          </p:grpSpPr>
          <p:sp>
            <p:nvSpPr>
              <p:cNvPr id="327" name="Retângulo 326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28" name="Retângulo 327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29" name="Retângulo 328"/>
              <p:cNvSpPr/>
              <p:nvPr/>
            </p:nvSpPr>
            <p:spPr>
              <a:xfrm>
                <a:off x="1340727" y="3183375"/>
                <a:ext cx="450313" cy="5615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cxnSp>
          <p:nvCxnSpPr>
            <p:cNvPr id="288" name="Conector Reto 287"/>
            <p:cNvCxnSpPr/>
            <p:nvPr/>
          </p:nvCxnSpPr>
          <p:spPr>
            <a:xfrm>
              <a:off x="2943898" y="4129117"/>
              <a:ext cx="2023754" cy="0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9" name="Grupo 288"/>
            <p:cNvGrpSpPr/>
            <p:nvPr/>
          </p:nvGrpSpPr>
          <p:grpSpPr>
            <a:xfrm>
              <a:off x="3680779" y="3986857"/>
              <a:ext cx="596138" cy="114903"/>
              <a:chOff x="1340727" y="2983197"/>
              <a:chExt cx="900626" cy="256333"/>
            </a:xfrm>
          </p:grpSpPr>
          <p:sp>
            <p:nvSpPr>
              <p:cNvPr id="324" name="Retângulo 323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25" name="Retângulo 324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26" name="Retângulo 325"/>
              <p:cNvSpPr/>
              <p:nvPr/>
            </p:nvSpPr>
            <p:spPr>
              <a:xfrm>
                <a:off x="1340727" y="3183375"/>
                <a:ext cx="450313" cy="5615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90" name="Grupo 289"/>
            <p:cNvGrpSpPr/>
            <p:nvPr/>
          </p:nvGrpSpPr>
          <p:grpSpPr>
            <a:xfrm>
              <a:off x="2981635" y="4156472"/>
              <a:ext cx="596138" cy="118419"/>
              <a:chOff x="1340727" y="2983197"/>
              <a:chExt cx="900626" cy="264178"/>
            </a:xfrm>
          </p:grpSpPr>
          <p:sp>
            <p:nvSpPr>
              <p:cNvPr id="321" name="Retângulo 320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22" name="Retângulo 321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23" name="Retângulo 322"/>
              <p:cNvSpPr/>
              <p:nvPr/>
            </p:nvSpPr>
            <p:spPr>
              <a:xfrm>
                <a:off x="1340727" y="3183375"/>
                <a:ext cx="450313" cy="64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cxnSp>
          <p:nvCxnSpPr>
            <p:cNvPr id="291" name="Conector Reto 290"/>
            <p:cNvCxnSpPr/>
            <p:nvPr/>
          </p:nvCxnSpPr>
          <p:spPr>
            <a:xfrm>
              <a:off x="2943898" y="4298733"/>
              <a:ext cx="2023754" cy="0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2" name="Grupo 291"/>
            <p:cNvGrpSpPr/>
            <p:nvPr/>
          </p:nvGrpSpPr>
          <p:grpSpPr>
            <a:xfrm>
              <a:off x="3680779" y="4156472"/>
              <a:ext cx="596138" cy="118419"/>
              <a:chOff x="1340727" y="2983197"/>
              <a:chExt cx="900626" cy="264178"/>
            </a:xfrm>
          </p:grpSpPr>
          <p:sp>
            <p:nvSpPr>
              <p:cNvPr id="318" name="Retângulo 317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19" name="Retângulo 318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20" name="Retângulo 319"/>
              <p:cNvSpPr/>
              <p:nvPr/>
            </p:nvSpPr>
            <p:spPr>
              <a:xfrm>
                <a:off x="1340727" y="3183375"/>
                <a:ext cx="450313" cy="64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93" name="Grupo 292"/>
            <p:cNvGrpSpPr/>
            <p:nvPr/>
          </p:nvGrpSpPr>
          <p:grpSpPr>
            <a:xfrm>
              <a:off x="4370093" y="4156472"/>
              <a:ext cx="596138" cy="118419"/>
              <a:chOff x="1340727" y="2983197"/>
              <a:chExt cx="900626" cy="264178"/>
            </a:xfrm>
          </p:grpSpPr>
          <p:sp>
            <p:nvSpPr>
              <p:cNvPr id="315" name="Retângulo 314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16" name="Retângulo 315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17" name="Retângulo 316"/>
              <p:cNvSpPr/>
              <p:nvPr/>
            </p:nvSpPr>
            <p:spPr>
              <a:xfrm>
                <a:off x="1340727" y="3183375"/>
                <a:ext cx="450313" cy="64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94" name="Grupo 293"/>
            <p:cNvGrpSpPr/>
            <p:nvPr/>
          </p:nvGrpSpPr>
          <p:grpSpPr>
            <a:xfrm>
              <a:off x="2981635" y="4329609"/>
              <a:ext cx="596138" cy="118417"/>
              <a:chOff x="1340727" y="2983197"/>
              <a:chExt cx="900626" cy="264174"/>
            </a:xfrm>
          </p:grpSpPr>
          <p:sp>
            <p:nvSpPr>
              <p:cNvPr id="312" name="Retângulo 311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13" name="Retângulo 312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14" name="Retângulo 313"/>
              <p:cNvSpPr/>
              <p:nvPr/>
            </p:nvSpPr>
            <p:spPr>
              <a:xfrm>
                <a:off x="1340727" y="3183375"/>
                <a:ext cx="450313" cy="63996"/>
              </a:xfrm>
              <a:prstGeom prst="rect">
                <a:avLst/>
              </a:prstGeom>
              <a:solidFill>
                <a:srgbClr val="7D9A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cxnSp>
          <p:nvCxnSpPr>
            <p:cNvPr id="295" name="Conector Reto 294"/>
            <p:cNvCxnSpPr/>
            <p:nvPr/>
          </p:nvCxnSpPr>
          <p:spPr>
            <a:xfrm>
              <a:off x="2943898" y="4471866"/>
              <a:ext cx="2023754" cy="0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6" name="Grupo 295"/>
            <p:cNvGrpSpPr/>
            <p:nvPr/>
          </p:nvGrpSpPr>
          <p:grpSpPr>
            <a:xfrm>
              <a:off x="3680779" y="4329609"/>
              <a:ext cx="596138" cy="118417"/>
              <a:chOff x="1340727" y="2983197"/>
              <a:chExt cx="900626" cy="264174"/>
            </a:xfrm>
          </p:grpSpPr>
          <p:sp>
            <p:nvSpPr>
              <p:cNvPr id="309" name="Retângulo 308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10" name="Retângulo 309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11" name="Retângulo 310"/>
              <p:cNvSpPr/>
              <p:nvPr/>
            </p:nvSpPr>
            <p:spPr>
              <a:xfrm>
                <a:off x="1340727" y="3183375"/>
                <a:ext cx="450313" cy="63996"/>
              </a:xfrm>
              <a:prstGeom prst="rect">
                <a:avLst/>
              </a:prstGeom>
              <a:solidFill>
                <a:srgbClr val="7D9A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97" name="Grupo 296"/>
            <p:cNvGrpSpPr/>
            <p:nvPr/>
          </p:nvGrpSpPr>
          <p:grpSpPr>
            <a:xfrm>
              <a:off x="4370093" y="4329609"/>
              <a:ext cx="596138" cy="118417"/>
              <a:chOff x="1340727" y="2983197"/>
              <a:chExt cx="900626" cy="264174"/>
            </a:xfrm>
          </p:grpSpPr>
          <p:sp>
            <p:nvSpPr>
              <p:cNvPr id="306" name="Retângulo 305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07" name="Retângulo 306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08" name="Retângulo 307"/>
              <p:cNvSpPr/>
              <p:nvPr/>
            </p:nvSpPr>
            <p:spPr>
              <a:xfrm>
                <a:off x="1340727" y="3183375"/>
                <a:ext cx="450313" cy="63996"/>
              </a:xfrm>
              <a:prstGeom prst="rect">
                <a:avLst/>
              </a:prstGeom>
              <a:solidFill>
                <a:srgbClr val="7D9A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98" name="Grupo 297"/>
            <p:cNvGrpSpPr/>
            <p:nvPr/>
          </p:nvGrpSpPr>
          <p:grpSpPr>
            <a:xfrm>
              <a:off x="3680779" y="4499225"/>
              <a:ext cx="596138" cy="117090"/>
              <a:chOff x="1340727" y="2983197"/>
              <a:chExt cx="900626" cy="261212"/>
            </a:xfrm>
          </p:grpSpPr>
          <p:sp>
            <p:nvSpPr>
              <p:cNvPr id="303" name="Retângulo 302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04" name="Retângulo 303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05" name="Retângulo 304"/>
              <p:cNvSpPr/>
              <p:nvPr/>
            </p:nvSpPr>
            <p:spPr>
              <a:xfrm>
                <a:off x="1340727" y="3183375"/>
                <a:ext cx="450313" cy="61034"/>
              </a:xfrm>
              <a:prstGeom prst="rect">
                <a:avLst/>
              </a:prstGeom>
              <a:solidFill>
                <a:srgbClr val="0041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99" name="Grupo 298"/>
            <p:cNvGrpSpPr/>
            <p:nvPr/>
          </p:nvGrpSpPr>
          <p:grpSpPr>
            <a:xfrm>
              <a:off x="4370093" y="4499225"/>
              <a:ext cx="596138" cy="117090"/>
              <a:chOff x="1340727" y="2983197"/>
              <a:chExt cx="900626" cy="261212"/>
            </a:xfrm>
          </p:grpSpPr>
          <p:sp>
            <p:nvSpPr>
              <p:cNvPr id="300" name="Retângulo 299"/>
              <p:cNvSpPr/>
              <p:nvPr/>
            </p:nvSpPr>
            <p:spPr>
              <a:xfrm>
                <a:off x="1340727" y="2983197"/>
                <a:ext cx="450313" cy="20018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01" name="Retângulo 300"/>
              <p:cNvSpPr/>
              <p:nvPr/>
            </p:nvSpPr>
            <p:spPr>
              <a:xfrm>
                <a:off x="1791040" y="2983197"/>
                <a:ext cx="450313" cy="200182"/>
              </a:xfrm>
              <a:prstGeom prst="rect">
                <a:avLst/>
              </a:prstGeom>
              <a:solidFill>
                <a:schemeClr val="tx2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  <p:sp>
            <p:nvSpPr>
              <p:cNvPr id="302" name="Retângulo 301"/>
              <p:cNvSpPr/>
              <p:nvPr/>
            </p:nvSpPr>
            <p:spPr>
              <a:xfrm>
                <a:off x="1340727" y="3183375"/>
                <a:ext cx="450313" cy="61034"/>
              </a:xfrm>
              <a:prstGeom prst="rect">
                <a:avLst/>
              </a:prstGeom>
              <a:solidFill>
                <a:srgbClr val="0041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>
                  <a:solidFill>
                    <a:schemeClr val="tx2"/>
                  </a:solidFill>
                </a:endParaRPr>
              </a:p>
            </p:txBody>
          </p:sp>
        </p:grpSp>
      </p:grpSp>
      <p:grpSp>
        <p:nvGrpSpPr>
          <p:cNvPr id="215" name="Grupo 214"/>
          <p:cNvGrpSpPr/>
          <p:nvPr userDrawn="1"/>
        </p:nvGrpSpPr>
        <p:grpSpPr>
          <a:xfrm>
            <a:off x="5184858" y="3850869"/>
            <a:ext cx="2869610" cy="2173165"/>
            <a:chOff x="999031" y="2956040"/>
            <a:chExt cx="3343046" cy="1470435"/>
          </a:xfrm>
        </p:grpSpPr>
        <p:cxnSp>
          <p:nvCxnSpPr>
            <p:cNvPr id="271" name="Conector Reto 270"/>
            <p:cNvCxnSpPr/>
            <p:nvPr/>
          </p:nvCxnSpPr>
          <p:spPr>
            <a:xfrm>
              <a:off x="4342077" y="2956040"/>
              <a:ext cx="0" cy="1470435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Conector Reto 271"/>
            <p:cNvCxnSpPr/>
            <p:nvPr/>
          </p:nvCxnSpPr>
          <p:spPr>
            <a:xfrm>
              <a:off x="999031" y="2956040"/>
              <a:ext cx="0" cy="1470435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6" name="Espaço Reservado para Conteúdo 3"/>
          <p:cNvSpPr txBox="1">
            <a:spLocks/>
          </p:cNvSpPr>
          <p:nvPr userDrawn="1"/>
        </p:nvSpPr>
        <p:spPr>
          <a:xfrm>
            <a:off x="5261535" y="3740375"/>
            <a:ext cx="2225442" cy="42037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71490" indent="-171490" algn="l" defTabSz="685960" rtl="0" eaLnBrk="1" latinLnBrk="0" hangingPunct="1">
              <a:lnSpc>
                <a:spcPct val="90000"/>
              </a:lnSpc>
              <a:spcBef>
                <a:spcPts val="751"/>
              </a:spcBef>
              <a:buFont typeface="Arial"/>
              <a:buChar char="•"/>
              <a:defRPr sz="21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470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450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42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40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38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36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34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328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31">
              <a:lnSpc>
                <a:spcPct val="100000"/>
              </a:lnSpc>
              <a:spcBef>
                <a:spcPts val="1000"/>
              </a:spcBef>
              <a:buNone/>
              <a:defRPr/>
            </a:pPr>
            <a:r>
              <a:rPr lang="pt-BR" sz="1066" dirty="0">
                <a:solidFill>
                  <a:srgbClr val="000000"/>
                </a:solidFill>
              </a:rPr>
              <a:t>Combinações 2 cores principais + 1 cor de apoio </a:t>
            </a:r>
          </a:p>
        </p:txBody>
      </p:sp>
      <p:sp>
        <p:nvSpPr>
          <p:cNvPr id="217" name="Espaço Reservado para Conteúdo 3"/>
          <p:cNvSpPr txBox="1">
            <a:spLocks/>
          </p:cNvSpPr>
          <p:nvPr userDrawn="1"/>
        </p:nvSpPr>
        <p:spPr>
          <a:xfrm>
            <a:off x="8214774" y="3740375"/>
            <a:ext cx="2131380" cy="42037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71490" indent="-171490" algn="l" defTabSz="685960" rtl="0" eaLnBrk="1" latinLnBrk="0" hangingPunct="1">
              <a:lnSpc>
                <a:spcPct val="90000"/>
              </a:lnSpc>
              <a:spcBef>
                <a:spcPts val="751"/>
              </a:spcBef>
              <a:buFont typeface="Arial"/>
              <a:buChar char="•"/>
              <a:defRPr sz="21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470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450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42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40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38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36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34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328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31">
              <a:lnSpc>
                <a:spcPct val="100000"/>
              </a:lnSpc>
              <a:spcBef>
                <a:spcPts val="1000"/>
              </a:spcBef>
              <a:buNone/>
              <a:defRPr/>
            </a:pPr>
            <a:r>
              <a:rPr lang="pt-BR" sz="1066" dirty="0">
                <a:solidFill>
                  <a:srgbClr val="000000"/>
                </a:solidFill>
              </a:rPr>
              <a:t>Combinações 3 cores principais + 1 cor de apoio </a:t>
            </a:r>
          </a:p>
        </p:txBody>
      </p:sp>
      <p:sp>
        <p:nvSpPr>
          <p:cNvPr id="218" name="Espaço Reservado para Conteúdo 3"/>
          <p:cNvSpPr txBox="1">
            <a:spLocks/>
          </p:cNvSpPr>
          <p:nvPr userDrawn="1"/>
        </p:nvSpPr>
        <p:spPr>
          <a:xfrm>
            <a:off x="4238282" y="3740375"/>
            <a:ext cx="905000" cy="42037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71490" indent="-171490" algn="l" defTabSz="685960" rtl="0" eaLnBrk="1" latinLnBrk="0" hangingPunct="1">
              <a:lnSpc>
                <a:spcPct val="90000"/>
              </a:lnSpc>
              <a:spcBef>
                <a:spcPts val="751"/>
              </a:spcBef>
              <a:buFont typeface="Arial"/>
              <a:buChar char="•"/>
              <a:defRPr sz="21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470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450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42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40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38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36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34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328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331">
              <a:lnSpc>
                <a:spcPct val="100000"/>
              </a:lnSpc>
              <a:spcBef>
                <a:spcPts val="1000"/>
              </a:spcBef>
              <a:buNone/>
              <a:defRPr/>
            </a:pPr>
            <a:r>
              <a:rPr lang="pt-BR" sz="1066" dirty="0">
                <a:solidFill>
                  <a:srgbClr val="000000"/>
                </a:solidFill>
              </a:rPr>
              <a:t>Cores de Apoio</a:t>
            </a:r>
          </a:p>
        </p:txBody>
      </p:sp>
      <p:grpSp>
        <p:nvGrpSpPr>
          <p:cNvPr id="219" name="Grupo 218"/>
          <p:cNvGrpSpPr/>
          <p:nvPr userDrawn="1"/>
        </p:nvGrpSpPr>
        <p:grpSpPr>
          <a:xfrm>
            <a:off x="4265256" y="6153056"/>
            <a:ext cx="4976641" cy="409086"/>
            <a:chOff x="280288" y="4778473"/>
            <a:chExt cx="3733777" cy="306909"/>
          </a:xfrm>
        </p:grpSpPr>
        <p:grpSp>
          <p:nvGrpSpPr>
            <p:cNvPr id="258" name="Grupo 257"/>
            <p:cNvGrpSpPr/>
            <p:nvPr/>
          </p:nvGrpSpPr>
          <p:grpSpPr>
            <a:xfrm>
              <a:off x="2247622" y="4943105"/>
              <a:ext cx="877843" cy="137650"/>
              <a:chOff x="5506331" y="4785737"/>
              <a:chExt cx="1001195" cy="224552"/>
            </a:xfrm>
          </p:grpSpPr>
          <p:grpSp>
            <p:nvGrpSpPr>
              <p:cNvPr id="260" name="Grupo 259"/>
              <p:cNvGrpSpPr/>
              <p:nvPr/>
            </p:nvGrpSpPr>
            <p:grpSpPr>
              <a:xfrm rot="5400000">
                <a:off x="5928738" y="4458787"/>
                <a:ext cx="156381" cy="878452"/>
                <a:chOff x="5632704" y="-294171"/>
                <a:chExt cx="748198" cy="1466734"/>
              </a:xfrm>
            </p:grpSpPr>
            <p:sp>
              <p:nvSpPr>
                <p:cNvPr id="262" name="Retângulo 261"/>
                <p:cNvSpPr/>
                <p:nvPr/>
              </p:nvSpPr>
              <p:spPr>
                <a:xfrm>
                  <a:off x="5632704" y="1074726"/>
                  <a:ext cx="748186" cy="97837"/>
                </a:xfrm>
                <a:prstGeom prst="rect">
                  <a:avLst/>
                </a:prstGeom>
                <a:solidFill>
                  <a:srgbClr val="00416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1200"/>
                </a:p>
              </p:txBody>
            </p:sp>
            <p:sp>
              <p:nvSpPr>
                <p:cNvPr id="263" name="Retângulo 262"/>
                <p:cNvSpPr/>
                <p:nvPr/>
              </p:nvSpPr>
              <p:spPr>
                <a:xfrm>
                  <a:off x="5632704" y="972559"/>
                  <a:ext cx="748186" cy="97837"/>
                </a:xfrm>
                <a:prstGeom prst="rect">
                  <a:avLst/>
                </a:prstGeom>
                <a:solidFill>
                  <a:srgbClr val="7D9AA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1200"/>
                </a:p>
              </p:txBody>
            </p:sp>
            <p:sp>
              <p:nvSpPr>
                <p:cNvPr id="264" name="Retângulo 263"/>
                <p:cNvSpPr/>
                <p:nvPr/>
              </p:nvSpPr>
              <p:spPr>
                <a:xfrm>
                  <a:off x="5632704" y="870392"/>
                  <a:ext cx="748186" cy="97837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1200"/>
                </a:p>
              </p:txBody>
            </p:sp>
            <p:sp>
              <p:nvSpPr>
                <p:cNvPr id="265" name="Retângulo 264"/>
                <p:cNvSpPr/>
                <p:nvPr/>
              </p:nvSpPr>
              <p:spPr>
                <a:xfrm>
                  <a:off x="5632704" y="768225"/>
                  <a:ext cx="748186" cy="97837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1200"/>
                </a:p>
              </p:txBody>
            </p:sp>
            <p:sp>
              <p:nvSpPr>
                <p:cNvPr id="266" name="Retângulo 265"/>
                <p:cNvSpPr/>
                <p:nvPr/>
              </p:nvSpPr>
              <p:spPr>
                <a:xfrm>
                  <a:off x="5632704" y="664915"/>
                  <a:ext cx="748186" cy="97837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1200"/>
                </a:p>
              </p:txBody>
            </p:sp>
            <p:sp>
              <p:nvSpPr>
                <p:cNvPr id="267" name="Retângulo 266"/>
                <p:cNvSpPr/>
                <p:nvPr/>
              </p:nvSpPr>
              <p:spPr>
                <a:xfrm>
                  <a:off x="5632704" y="562748"/>
                  <a:ext cx="748186" cy="97837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1200"/>
                </a:p>
              </p:txBody>
            </p:sp>
            <p:sp>
              <p:nvSpPr>
                <p:cNvPr id="268" name="Retângulo 267"/>
                <p:cNvSpPr/>
                <p:nvPr/>
              </p:nvSpPr>
              <p:spPr>
                <a:xfrm>
                  <a:off x="5632704" y="460581"/>
                  <a:ext cx="748186" cy="97837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1200"/>
                </a:p>
              </p:txBody>
            </p:sp>
            <p:sp>
              <p:nvSpPr>
                <p:cNvPr id="269" name="Retângulo 268"/>
                <p:cNvSpPr/>
                <p:nvPr/>
              </p:nvSpPr>
              <p:spPr>
                <a:xfrm>
                  <a:off x="5632704" y="358414"/>
                  <a:ext cx="748186" cy="97837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1200"/>
                </a:p>
              </p:txBody>
            </p:sp>
            <p:sp>
              <p:nvSpPr>
                <p:cNvPr id="270" name="Retângulo 269"/>
                <p:cNvSpPr/>
                <p:nvPr/>
              </p:nvSpPr>
              <p:spPr>
                <a:xfrm>
                  <a:off x="5632721" y="-294171"/>
                  <a:ext cx="748181" cy="652586"/>
                </a:xfrm>
                <a:prstGeom prst="rect">
                  <a:avLst/>
                </a:prstGeom>
                <a:solidFill>
                  <a:schemeClr val="tx2"/>
                </a:solidFill>
                <a:ln w="3175">
                  <a:solidFill>
                    <a:srgbClr val="0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1200"/>
                </a:p>
              </p:txBody>
            </p:sp>
          </p:grpSp>
          <p:cxnSp>
            <p:nvCxnSpPr>
              <p:cNvPr id="261" name="Conector Reto 260"/>
              <p:cNvCxnSpPr/>
              <p:nvPr/>
            </p:nvCxnSpPr>
            <p:spPr>
              <a:xfrm flipH="1">
                <a:off x="5506331" y="4785737"/>
                <a:ext cx="1001195" cy="224552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9" name="Espaço Reservado para Conteúdo 3"/>
            <p:cNvSpPr txBox="1">
              <a:spLocks/>
            </p:cNvSpPr>
            <p:nvPr/>
          </p:nvSpPr>
          <p:spPr>
            <a:xfrm>
              <a:off x="280288" y="4778473"/>
              <a:ext cx="3733777" cy="30690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lvl1pPr marL="171490" indent="-171490" algn="l" defTabSz="685960" rtl="0" eaLnBrk="1" latinLnBrk="0" hangingPunct="1">
                <a:lnSpc>
                  <a:spcPct val="90000"/>
                </a:lnSpc>
                <a:spcBef>
                  <a:spcPts val="751"/>
                </a:spcBef>
                <a:buFont typeface="Arial"/>
                <a:buChar char="•"/>
                <a:defRPr sz="21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470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8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450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429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409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6389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369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349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328" indent="-171490" algn="l" defTabSz="68596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331">
                <a:lnSpc>
                  <a:spcPts val="666"/>
                </a:lnSpc>
                <a:spcBef>
                  <a:spcPts val="1000"/>
                </a:spcBef>
                <a:buNone/>
                <a:defRPr/>
              </a:pPr>
              <a:r>
                <a:rPr lang="pt-BR" sz="1066" dirty="0">
                  <a:solidFill>
                    <a:srgbClr val="000000"/>
                  </a:solidFill>
                </a:rPr>
                <a:t>O </a:t>
              </a:r>
              <a:r>
                <a:rPr lang="pt-BR" sz="1066" b="1" dirty="0">
                  <a:solidFill>
                    <a:srgbClr val="000000"/>
                  </a:solidFill>
                </a:rPr>
                <a:t>branco é a cor principal obrigatória </a:t>
              </a:r>
              <a:r>
                <a:rPr lang="pt-BR" sz="1066" dirty="0">
                  <a:solidFill>
                    <a:srgbClr val="000000"/>
                  </a:solidFill>
                </a:rPr>
                <a:t>em todos os layouts.</a:t>
              </a:r>
            </a:p>
            <a:p>
              <a:pPr marL="0" indent="0" defTabSz="914331">
                <a:lnSpc>
                  <a:spcPts val="666"/>
                </a:lnSpc>
                <a:spcBef>
                  <a:spcPts val="1000"/>
                </a:spcBef>
                <a:buNone/>
                <a:defRPr/>
              </a:pPr>
              <a:r>
                <a:rPr lang="pt-BR" sz="1066" dirty="0">
                  <a:solidFill>
                    <a:srgbClr val="000000"/>
                  </a:solidFill>
                </a:rPr>
                <a:t>O branco + cor de apoio não é permitido.  </a:t>
              </a:r>
            </a:p>
          </p:txBody>
        </p:sp>
      </p:grpSp>
      <p:sp>
        <p:nvSpPr>
          <p:cNvPr id="220" name="Espaço Reservado para Conteúdo 3"/>
          <p:cNvSpPr txBox="1">
            <a:spLocks/>
          </p:cNvSpPr>
          <p:nvPr userDrawn="1"/>
        </p:nvSpPr>
        <p:spPr>
          <a:xfrm>
            <a:off x="2004362" y="4670433"/>
            <a:ext cx="1568024" cy="4102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90" indent="-171490" algn="l" defTabSz="685960" rtl="0" eaLnBrk="1" latinLnBrk="0" hangingPunct="1">
              <a:lnSpc>
                <a:spcPct val="90000"/>
              </a:lnSpc>
              <a:spcBef>
                <a:spcPts val="751"/>
              </a:spcBef>
              <a:buFont typeface="Arial"/>
              <a:buChar char="•"/>
              <a:defRPr sz="21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470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450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42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40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38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36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34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328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31">
              <a:lnSpc>
                <a:spcPct val="100000"/>
              </a:lnSpc>
              <a:spcBef>
                <a:spcPts val="1000"/>
              </a:spcBef>
              <a:buNone/>
              <a:defRPr/>
            </a:pPr>
            <a:r>
              <a:rPr lang="pt-BR" sz="1333" dirty="0">
                <a:solidFill>
                  <a:srgbClr val="000000"/>
                </a:solidFill>
              </a:rPr>
              <a:t>Combinação com </a:t>
            </a:r>
            <a:r>
              <a:rPr lang="pt-BR" sz="1333" b="1" dirty="0">
                <a:solidFill>
                  <a:srgbClr val="000000"/>
                </a:solidFill>
              </a:rPr>
              <a:t>cores secundárias</a:t>
            </a:r>
          </a:p>
        </p:txBody>
      </p:sp>
      <p:sp>
        <p:nvSpPr>
          <p:cNvPr id="227" name="Retângulo 226"/>
          <p:cNvSpPr/>
          <p:nvPr/>
        </p:nvSpPr>
        <p:spPr>
          <a:xfrm>
            <a:off x="4380367" y="2272071"/>
            <a:ext cx="636571" cy="1555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tx2"/>
              </a:solidFill>
            </a:endParaRPr>
          </a:p>
        </p:txBody>
      </p:sp>
      <p:sp>
        <p:nvSpPr>
          <p:cNvPr id="228" name="Retângulo 227"/>
          <p:cNvSpPr/>
          <p:nvPr/>
        </p:nvSpPr>
        <p:spPr>
          <a:xfrm>
            <a:off x="4380367" y="2518149"/>
            <a:ext cx="636571" cy="15550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tx2"/>
              </a:solidFill>
            </a:endParaRPr>
          </a:p>
        </p:txBody>
      </p:sp>
      <p:sp>
        <p:nvSpPr>
          <p:cNvPr id="229" name="Retângulo 228"/>
          <p:cNvSpPr/>
          <p:nvPr/>
        </p:nvSpPr>
        <p:spPr>
          <a:xfrm>
            <a:off x="4380367" y="2767577"/>
            <a:ext cx="636571" cy="15550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tx2"/>
              </a:solidFill>
            </a:endParaRPr>
          </a:p>
        </p:txBody>
      </p:sp>
      <p:sp>
        <p:nvSpPr>
          <p:cNvPr id="230" name="Retângulo 229"/>
          <p:cNvSpPr/>
          <p:nvPr/>
        </p:nvSpPr>
        <p:spPr>
          <a:xfrm>
            <a:off x="4380367" y="3008687"/>
            <a:ext cx="636571" cy="155505"/>
          </a:xfrm>
          <a:prstGeom prst="rect">
            <a:avLst/>
          </a:prstGeom>
          <a:solidFill>
            <a:schemeClr val="tx2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tx2"/>
              </a:solidFill>
            </a:endParaRPr>
          </a:p>
        </p:txBody>
      </p:sp>
      <p:sp>
        <p:nvSpPr>
          <p:cNvPr id="231" name="Retângulo 230"/>
          <p:cNvSpPr/>
          <p:nvPr/>
        </p:nvSpPr>
        <p:spPr>
          <a:xfrm>
            <a:off x="5491732" y="2272071"/>
            <a:ext cx="600209" cy="1555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tx2"/>
              </a:solidFill>
            </a:endParaRPr>
          </a:p>
        </p:txBody>
      </p:sp>
      <p:sp>
        <p:nvSpPr>
          <p:cNvPr id="232" name="Retângulo 231"/>
          <p:cNvSpPr/>
          <p:nvPr/>
        </p:nvSpPr>
        <p:spPr>
          <a:xfrm>
            <a:off x="5491732" y="2518149"/>
            <a:ext cx="600209" cy="15550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tx2"/>
              </a:solidFill>
            </a:endParaRPr>
          </a:p>
        </p:txBody>
      </p:sp>
      <p:sp>
        <p:nvSpPr>
          <p:cNvPr id="233" name="Retângulo 232"/>
          <p:cNvSpPr/>
          <p:nvPr/>
        </p:nvSpPr>
        <p:spPr>
          <a:xfrm>
            <a:off x="5491732" y="2767577"/>
            <a:ext cx="600209" cy="15550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tx2"/>
              </a:solidFill>
            </a:endParaRPr>
          </a:p>
        </p:txBody>
      </p:sp>
      <p:sp>
        <p:nvSpPr>
          <p:cNvPr id="234" name="Retângulo 233"/>
          <p:cNvSpPr/>
          <p:nvPr/>
        </p:nvSpPr>
        <p:spPr>
          <a:xfrm>
            <a:off x="6091941" y="2272071"/>
            <a:ext cx="600209" cy="155505"/>
          </a:xfrm>
          <a:prstGeom prst="rect">
            <a:avLst/>
          </a:prstGeom>
          <a:solidFill>
            <a:schemeClr val="tx2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tx2"/>
              </a:solidFill>
            </a:endParaRPr>
          </a:p>
        </p:txBody>
      </p:sp>
      <p:sp>
        <p:nvSpPr>
          <p:cNvPr id="235" name="Retângulo 234"/>
          <p:cNvSpPr/>
          <p:nvPr/>
        </p:nvSpPr>
        <p:spPr>
          <a:xfrm>
            <a:off x="6091941" y="2518148"/>
            <a:ext cx="600209" cy="152249"/>
          </a:xfrm>
          <a:prstGeom prst="rect">
            <a:avLst/>
          </a:prstGeom>
          <a:solidFill>
            <a:schemeClr val="tx2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tx2"/>
              </a:solidFill>
            </a:endParaRPr>
          </a:p>
        </p:txBody>
      </p:sp>
      <p:sp>
        <p:nvSpPr>
          <p:cNvPr id="236" name="Retângulo 235"/>
          <p:cNvSpPr/>
          <p:nvPr/>
        </p:nvSpPr>
        <p:spPr>
          <a:xfrm>
            <a:off x="6091941" y="2767577"/>
            <a:ext cx="600209" cy="155505"/>
          </a:xfrm>
          <a:prstGeom prst="rect">
            <a:avLst/>
          </a:prstGeom>
          <a:solidFill>
            <a:schemeClr val="tx2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tx2"/>
              </a:solidFill>
            </a:endParaRPr>
          </a:p>
        </p:txBody>
      </p:sp>
      <p:grpSp>
        <p:nvGrpSpPr>
          <p:cNvPr id="237" name="Grupo 236"/>
          <p:cNvGrpSpPr/>
          <p:nvPr/>
        </p:nvGrpSpPr>
        <p:grpSpPr>
          <a:xfrm>
            <a:off x="6899569" y="2272071"/>
            <a:ext cx="1160281" cy="155505"/>
            <a:chOff x="3169541" y="1075699"/>
            <a:chExt cx="1348215" cy="240088"/>
          </a:xfrm>
        </p:grpSpPr>
        <p:sp>
          <p:nvSpPr>
            <p:cNvPr id="255" name="Retângulo 254"/>
            <p:cNvSpPr/>
            <p:nvPr/>
          </p:nvSpPr>
          <p:spPr>
            <a:xfrm>
              <a:off x="3618946" y="1075699"/>
              <a:ext cx="449405" cy="24008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>
                <a:solidFill>
                  <a:schemeClr val="tx2"/>
                </a:solidFill>
              </a:endParaRPr>
            </a:p>
          </p:txBody>
        </p:sp>
        <p:sp>
          <p:nvSpPr>
            <p:cNvPr id="256" name="Retângulo 255"/>
            <p:cNvSpPr/>
            <p:nvPr/>
          </p:nvSpPr>
          <p:spPr>
            <a:xfrm>
              <a:off x="3169541" y="1075699"/>
              <a:ext cx="449405" cy="240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>
                <a:solidFill>
                  <a:schemeClr val="tx2"/>
                </a:solidFill>
              </a:endParaRPr>
            </a:p>
          </p:txBody>
        </p:sp>
        <p:sp>
          <p:nvSpPr>
            <p:cNvPr id="257" name="Retângulo 256"/>
            <p:cNvSpPr/>
            <p:nvPr/>
          </p:nvSpPr>
          <p:spPr>
            <a:xfrm>
              <a:off x="4068351" y="1075699"/>
              <a:ext cx="449405" cy="240088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>
                <a:solidFill>
                  <a:schemeClr val="tx2"/>
                </a:solidFill>
              </a:endParaRPr>
            </a:p>
          </p:txBody>
        </p:sp>
      </p:grpSp>
      <p:sp>
        <p:nvSpPr>
          <p:cNvPr id="238" name="Retângulo 237"/>
          <p:cNvSpPr/>
          <p:nvPr/>
        </p:nvSpPr>
        <p:spPr>
          <a:xfrm>
            <a:off x="7286330" y="2767577"/>
            <a:ext cx="386760" cy="1555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tx2"/>
              </a:solidFill>
            </a:endParaRPr>
          </a:p>
        </p:txBody>
      </p:sp>
      <p:sp>
        <p:nvSpPr>
          <p:cNvPr id="239" name="Retângulo 238"/>
          <p:cNvSpPr/>
          <p:nvPr/>
        </p:nvSpPr>
        <p:spPr>
          <a:xfrm>
            <a:off x="6899569" y="2767577"/>
            <a:ext cx="386760" cy="15550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tx2"/>
              </a:solidFill>
            </a:endParaRPr>
          </a:p>
        </p:txBody>
      </p:sp>
      <p:sp>
        <p:nvSpPr>
          <p:cNvPr id="240" name="Retângulo 239"/>
          <p:cNvSpPr/>
          <p:nvPr/>
        </p:nvSpPr>
        <p:spPr>
          <a:xfrm>
            <a:off x="7673090" y="2767577"/>
            <a:ext cx="386760" cy="155505"/>
          </a:xfrm>
          <a:prstGeom prst="rect">
            <a:avLst/>
          </a:prstGeom>
          <a:solidFill>
            <a:schemeClr val="tx2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tx2"/>
              </a:solidFill>
            </a:endParaRPr>
          </a:p>
        </p:txBody>
      </p:sp>
      <p:grpSp>
        <p:nvGrpSpPr>
          <p:cNvPr id="241" name="Grupo 240"/>
          <p:cNvGrpSpPr/>
          <p:nvPr/>
        </p:nvGrpSpPr>
        <p:grpSpPr>
          <a:xfrm>
            <a:off x="8268493" y="2272071"/>
            <a:ext cx="1184607" cy="155505"/>
            <a:chOff x="4943982" y="1075699"/>
            <a:chExt cx="1797620" cy="240088"/>
          </a:xfrm>
        </p:grpSpPr>
        <p:sp>
          <p:nvSpPr>
            <p:cNvPr id="251" name="Retângulo 250"/>
            <p:cNvSpPr/>
            <p:nvPr/>
          </p:nvSpPr>
          <p:spPr>
            <a:xfrm>
              <a:off x="5842792" y="1075699"/>
              <a:ext cx="449405" cy="24008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>
                <a:solidFill>
                  <a:schemeClr val="tx2"/>
                </a:solidFill>
              </a:endParaRPr>
            </a:p>
          </p:txBody>
        </p:sp>
        <p:sp>
          <p:nvSpPr>
            <p:cNvPr id="252" name="Retângulo 251"/>
            <p:cNvSpPr/>
            <p:nvPr/>
          </p:nvSpPr>
          <p:spPr>
            <a:xfrm>
              <a:off x="5393387" y="1075699"/>
              <a:ext cx="449405" cy="24008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>
                <a:solidFill>
                  <a:schemeClr val="tx2"/>
                </a:solidFill>
              </a:endParaRPr>
            </a:p>
          </p:txBody>
        </p:sp>
        <p:sp>
          <p:nvSpPr>
            <p:cNvPr id="253" name="Retângulo 252"/>
            <p:cNvSpPr/>
            <p:nvPr/>
          </p:nvSpPr>
          <p:spPr>
            <a:xfrm>
              <a:off x="6292197" y="1075699"/>
              <a:ext cx="449405" cy="240088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>
                <a:solidFill>
                  <a:schemeClr val="tx2"/>
                </a:solidFill>
              </a:endParaRPr>
            </a:p>
          </p:txBody>
        </p:sp>
        <p:sp>
          <p:nvSpPr>
            <p:cNvPr id="254" name="Retângulo 253"/>
            <p:cNvSpPr/>
            <p:nvPr/>
          </p:nvSpPr>
          <p:spPr>
            <a:xfrm>
              <a:off x="4943982" y="1075699"/>
              <a:ext cx="449405" cy="240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>
                <a:solidFill>
                  <a:schemeClr val="tx2"/>
                </a:solidFill>
              </a:endParaRPr>
            </a:p>
          </p:txBody>
        </p:sp>
      </p:grpSp>
      <p:grpSp>
        <p:nvGrpSpPr>
          <p:cNvPr id="242" name="Grupo 241"/>
          <p:cNvGrpSpPr/>
          <p:nvPr/>
        </p:nvGrpSpPr>
        <p:grpSpPr>
          <a:xfrm>
            <a:off x="5377953" y="2476633"/>
            <a:ext cx="4537650" cy="498681"/>
            <a:chOff x="1255363" y="1363672"/>
            <a:chExt cx="5244224" cy="620111"/>
          </a:xfrm>
        </p:grpSpPr>
        <p:grpSp>
          <p:nvGrpSpPr>
            <p:cNvPr id="247" name="Grupo 246"/>
            <p:cNvGrpSpPr/>
            <p:nvPr/>
          </p:nvGrpSpPr>
          <p:grpSpPr>
            <a:xfrm>
              <a:off x="1255363" y="1662475"/>
              <a:ext cx="5244224" cy="321308"/>
              <a:chOff x="360001" y="1662475"/>
              <a:chExt cx="6139586" cy="321308"/>
            </a:xfrm>
          </p:grpSpPr>
          <p:cxnSp>
            <p:nvCxnSpPr>
              <p:cNvPr id="249" name="Conector Reto 248"/>
              <p:cNvCxnSpPr/>
              <p:nvPr/>
            </p:nvCxnSpPr>
            <p:spPr>
              <a:xfrm>
                <a:off x="360001" y="1983783"/>
                <a:ext cx="6139586" cy="0"/>
              </a:xfrm>
              <a:prstGeom prst="line">
                <a:avLst/>
              </a:prstGeom>
              <a:ln>
                <a:solidFill>
                  <a:schemeClr val="tx2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Conector Reto 249"/>
              <p:cNvCxnSpPr/>
              <p:nvPr/>
            </p:nvCxnSpPr>
            <p:spPr>
              <a:xfrm>
                <a:off x="360001" y="1662475"/>
                <a:ext cx="6139586" cy="0"/>
              </a:xfrm>
              <a:prstGeom prst="line">
                <a:avLst/>
              </a:prstGeom>
              <a:ln>
                <a:solidFill>
                  <a:schemeClr val="tx2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48" name="Conector Reto 247"/>
            <p:cNvCxnSpPr/>
            <p:nvPr/>
          </p:nvCxnSpPr>
          <p:spPr>
            <a:xfrm>
              <a:off x="1255363" y="1363672"/>
              <a:ext cx="5244224" cy="0"/>
            </a:xfrm>
            <a:prstGeom prst="line">
              <a:avLst/>
            </a:prstGeom>
            <a:ln>
              <a:solidFill>
                <a:schemeClr val="tx2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3" name="Espaço Reservado para Conteúdo 3"/>
          <p:cNvSpPr txBox="1">
            <a:spLocks/>
          </p:cNvSpPr>
          <p:nvPr/>
        </p:nvSpPr>
        <p:spPr>
          <a:xfrm>
            <a:off x="5377954" y="2985915"/>
            <a:ext cx="482040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71490" indent="-171490" algn="l" defTabSz="685960" rtl="0" eaLnBrk="1" latinLnBrk="0" hangingPunct="1">
              <a:lnSpc>
                <a:spcPct val="90000"/>
              </a:lnSpc>
              <a:spcBef>
                <a:spcPts val="751"/>
              </a:spcBef>
              <a:buFont typeface="Arial"/>
              <a:buChar char="•"/>
              <a:defRPr sz="21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470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450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42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40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38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36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34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328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31">
              <a:lnSpc>
                <a:spcPct val="100000"/>
              </a:lnSpc>
              <a:spcBef>
                <a:spcPts val="1000"/>
              </a:spcBef>
              <a:buNone/>
              <a:defRPr/>
            </a:pPr>
            <a:r>
              <a:rPr lang="pt-BR" sz="1200" dirty="0">
                <a:solidFill>
                  <a:srgbClr val="000000"/>
                </a:solidFill>
              </a:rPr>
              <a:t>O branco é a cor principal obrigatória em todos os layouts. </a:t>
            </a:r>
          </a:p>
        </p:txBody>
      </p:sp>
      <p:cxnSp>
        <p:nvCxnSpPr>
          <p:cNvPr id="244" name="Conector Reto 243"/>
          <p:cNvCxnSpPr/>
          <p:nvPr/>
        </p:nvCxnSpPr>
        <p:spPr>
          <a:xfrm>
            <a:off x="5184856" y="1899916"/>
            <a:ext cx="0" cy="1335233"/>
          </a:xfrm>
          <a:prstGeom prst="line">
            <a:avLst/>
          </a:prstGeom>
          <a:ln>
            <a:solidFill>
              <a:schemeClr val="tx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Espaço Reservado para Conteúdo 3"/>
          <p:cNvSpPr txBox="1">
            <a:spLocks/>
          </p:cNvSpPr>
          <p:nvPr/>
        </p:nvSpPr>
        <p:spPr>
          <a:xfrm>
            <a:off x="5319718" y="1882582"/>
            <a:ext cx="2507159" cy="2563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71490" indent="-171490" algn="l" defTabSz="685960" rtl="0" eaLnBrk="1" latinLnBrk="0" hangingPunct="1">
              <a:lnSpc>
                <a:spcPct val="90000"/>
              </a:lnSpc>
              <a:spcBef>
                <a:spcPts val="751"/>
              </a:spcBef>
              <a:buFont typeface="Arial"/>
              <a:buChar char="•"/>
              <a:defRPr sz="21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470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450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42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40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38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36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34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328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31">
              <a:lnSpc>
                <a:spcPct val="100000"/>
              </a:lnSpc>
              <a:spcBef>
                <a:spcPts val="1000"/>
              </a:spcBef>
              <a:buNone/>
              <a:defRPr/>
            </a:pPr>
            <a:r>
              <a:rPr lang="pt-BR" sz="1066" dirty="0">
                <a:solidFill>
                  <a:srgbClr val="000000"/>
                </a:solidFill>
              </a:rPr>
              <a:t>Combinações permititas</a:t>
            </a:r>
          </a:p>
        </p:txBody>
      </p:sp>
      <p:sp>
        <p:nvSpPr>
          <p:cNvPr id="246" name="Espaço Reservado para Conteúdo 3"/>
          <p:cNvSpPr txBox="1">
            <a:spLocks/>
          </p:cNvSpPr>
          <p:nvPr/>
        </p:nvSpPr>
        <p:spPr>
          <a:xfrm>
            <a:off x="4212450" y="1780020"/>
            <a:ext cx="972406" cy="42037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71490" indent="-171490" algn="l" defTabSz="685960" rtl="0" eaLnBrk="1" latinLnBrk="0" hangingPunct="1">
              <a:lnSpc>
                <a:spcPct val="90000"/>
              </a:lnSpc>
              <a:spcBef>
                <a:spcPts val="751"/>
              </a:spcBef>
              <a:buFont typeface="Arial"/>
              <a:buChar char="•"/>
              <a:defRPr sz="21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470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450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42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40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38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36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34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328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331">
              <a:lnSpc>
                <a:spcPct val="100000"/>
              </a:lnSpc>
              <a:spcBef>
                <a:spcPts val="1000"/>
              </a:spcBef>
              <a:buNone/>
              <a:defRPr/>
            </a:pPr>
            <a:r>
              <a:rPr lang="pt-BR" sz="1066" dirty="0">
                <a:solidFill>
                  <a:srgbClr val="000000"/>
                </a:solidFill>
              </a:rPr>
              <a:t>Cores de Prioritárias</a:t>
            </a:r>
          </a:p>
        </p:txBody>
      </p:sp>
      <p:sp>
        <p:nvSpPr>
          <p:cNvPr id="222" name="Espaço Reservado para Conteúdo 3"/>
          <p:cNvSpPr txBox="1">
            <a:spLocks/>
          </p:cNvSpPr>
          <p:nvPr userDrawn="1"/>
        </p:nvSpPr>
        <p:spPr>
          <a:xfrm>
            <a:off x="2004364" y="2386469"/>
            <a:ext cx="1669244" cy="4102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90" indent="-171490" algn="l" defTabSz="685960" rtl="0" eaLnBrk="1" latinLnBrk="0" hangingPunct="1">
              <a:lnSpc>
                <a:spcPct val="90000"/>
              </a:lnSpc>
              <a:spcBef>
                <a:spcPts val="751"/>
              </a:spcBef>
              <a:buFont typeface="Arial"/>
              <a:buChar char="•"/>
              <a:defRPr sz="21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470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450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42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40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38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36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349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328" indent="-171490" algn="l" defTabSz="68596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31">
              <a:lnSpc>
                <a:spcPct val="100000"/>
              </a:lnSpc>
              <a:spcBef>
                <a:spcPts val="1000"/>
              </a:spcBef>
              <a:buNone/>
              <a:defRPr/>
            </a:pPr>
            <a:r>
              <a:rPr lang="pt-BR" sz="1333" dirty="0">
                <a:solidFill>
                  <a:srgbClr val="000000"/>
                </a:solidFill>
              </a:rPr>
              <a:t>Combinação com </a:t>
            </a:r>
            <a:r>
              <a:rPr lang="pt-BR" sz="1333" b="1" dirty="0">
                <a:solidFill>
                  <a:srgbClr val="000000"/>
                </a:solidFill>
              </a:rPr>
              <a:t>cores prioritárias</a:t>
            </a:r>
          </a:p>
        </p:txBody>
      </p:sp>
      <p:cxnSp>
        <p:nvCxnSpPr>
          <p:cNvPr id="226" name="Conector Reto 225"/>
          <p:cNvCxnSpPr/>
          <p:nvPr userDrawn="1"/>
        </p:nvCxnSpPr>
        <p:spPr>
          <a:xfrm>
            <a:off x="959664" y="3487427"/>
            <a:ext cx="10272668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0" name="Imagem 4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3784" y="258202"/>
            <a:ext cx="1985133" cy="575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5723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>
            <a:extLst>
              <a:ext uri="{FF2B5EF4-FFF2-40B4-BE49-F238E27FC236}">
                <a16:creationId xmlns:a16="http://schemas.microsoft.com/office/drawing/2014/main" id="{6543B7E2-BB99-4316-A3F1-CB822EC0FE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11" name="Objeto 10" hidden="1">
                        <a:extLst>
                          <a:ext uri="{FF2B5EF4-FFF2-40B4-BE49-F238E27FC236}">
                            <a16:creationId xmlns:a16="http://schemas.microsoft.com/office/drawing/2014/main" id="{6543B7E2-BB99-4316-A3F1-CB822EC0FE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tângulo 9" hidden="1">
            <a:extLst>
              <a:ext uri="{FF2B5EF4-FFF2-40B4-BE49-F238E27FC236}">
                <a16:creationId xmlns:a16="http://schemas.microsoft.com/office/drawing/2014/main" id="{15C7A4B2-4771-45FA-BB60-B918BA3A43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0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401824A-EC10-4D90-A051-A36CF9DE7A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2EDFFC0-31E1-4B3E-A916-F5E1A79BAF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226EEE4A-7C8B-486A-9E5D-4374C25A7B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DCC250C6-3CD9-4471-B799-AA9F293C62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F95B5CC5-780C-4D67-B8D2-DE47670E7DA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78FFDD7-2D9B-413C-A3F9-B3EA4A642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48D53A6D-C819-4797-9041-D993BB11DF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38CFE7AF-4B4C-490D-826E-966C45132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CB1C7-BC24-4B1A-8401-3570DFE411D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98246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C075BD32-CC31-447D-B112-1175259A1F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C075BD32-CC31-447D-B112-1175259A1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>
            <a:extLst>
              <a:ext uri="{FF2B5EF4-FFF2-40B4-BE49-F238E27FC236}">
                <a16:creationId xmlns:a16="http://schemas.microsoft.com/office/drawing/2014/main" id="{33B14BEC-3E2A-40D4-96CA-8F926AC06B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0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4109C3D-A864-433C-9CEA-D7C33162C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B8BE7BED-BA4F-4C52-96C2-7CC9834C44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225ED8-EC01-407B-9524-4639EAFD4A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A2D1DEC-D978-4599-9195-4FE2EFC0E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CB1C7-BC24-4B1A-8401-3570DFE411D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673795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00EE3F3A-3C98-4711-B7F8-18B76389AA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2E894DDB-FFE0-4E4C-9839-F983B89D7A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492A8E7-49CC-49A0-AC55-B946C08CE2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CB1C7-BC24-4B1A-8401-3570DFE411D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034158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0869D796-0E12-4EA9-9D2A-9A35380BB3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0869D796-0E12-4EA9-9D2A-9A35380BB3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>
            <a:extLst>
              <a:ext uri="{FF2B5EF4-FFF2-40B4-BE49-F238E27FC236}">
                <a16:creationId xmlns:a16="http://schemas.microsoft.com/office/drawing/2014/main" id="{67BBCAEA-030F-4E36-848E-FE1F33F30DA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3200" b="0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EC95F89-45E3-4FC1-814C-B45EA41F5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8B54CF2-DC68-4C10-9726-E928F678F9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90D38B2-3FCC-4DDB-9BC9-7BC0E951DD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9ABB34A5-4C5F-45D6-B593-881150102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020BEE8-F657-4D5F-BE78-0FEEDD630C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9FAEFEC-40DA-4FCF-A5A4-9E805854C3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CB1C7-BC24-4B1A-8401-3570DFE411D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983937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461C78C5-4B03-4AFA-869F-139541D8F2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461C78C5-4B03-4AFA-869F-139541D8F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>
            <a:extLst>
              <a:ext uri="{FF2B5EF4-FFF2-40B4-BE49-F238E27FC236}">
                <a16:creationId xmlns:a16="http://schemas.microsoft.com/office/drawing/2014/main" id="{02386071-2B1D-421E-B58D-6140C98F61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3200" b="0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14E82BF-E264-497A-9E1D-B68751CE9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066AEFB3-7F5E-4B71-8D9B-24902D105F6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E66DDAF-535B-4BB8-9220-F84A896B1D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3D0FF23-6314-4051-8713-3F32BE454F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BB270ACC-48F7-4F40-88D1-F0E71C1667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234BD89-9FF4-492C-B048-03FA6F202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CB1C7-BC24-4B1A-8401-3570DFE411D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3555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slideLayout" Target="../slideLayouts/slideLayout41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B520C53F-9883-4446-8AF7-C665DB3ACF1D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21" imgW="421" imgH="423" progId="TCLayout.ActiveDocument.1">
                  <p:embed/>
                </p:oleObj>
              </mc:Choice>
              <mc:Fallback>
                <p:oleObj name="Slide do think-cell" r:id="rId21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B520C53F-9883-4446-8AF7-C665DB3ACF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AB370D3C-52F6-4629-8B08-3AFC85614949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0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03B4E68D-4DE5-4037-87B9-348C41B437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B43F4C-2906-4392-A98B-1A3B6FDF77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31AE243-373D-4A0B-8C14-A386D3E4BF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BE4F508-75F2-46AF-9771-3B5C97DF4D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C46C9C5-74DC-4A5A-BE96-F54C9D945D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32491" y="637068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DCB1C7-BC24-4B1A-8401-3570DFE411D8}" type="slidenum">
              <a:rPr lang="pt-BR" smtClean="0"/>
              <a:t>‹nº›</a:t>
            </a:fld>
            <a:endParaRPr lang="pt-BR"/>
          </a:p>
        </p:txBody>
      </p:sp>
      <p:sp>
        <p:nvSpPr>
          <p:cNvPr id="11" name="Retângulo 10" hidden="1">
            <a:extLst>
              <a:ext uri="{FF2B5EF4-FFF2-40B4-BE49-F238E27FC236}">
                <a16:creationId xmlns:a16="http://schemas.microsoft.com/office/drawing/2014/main" id="{09726561-F3DF-4CAA-9943-4BCA942C4A07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pt-BR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928913AB-BB7E-42F3-B639-750598667DFB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296" y="6452210"/>
            <a:ext cx="288000" cy="288000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A1E14D3F-FE0B-1AFB-326D-B954BE578AA2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461963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t-BR" sz="900">
                <a:solidFill>
                  <a:srgbClr val="737373"/>
                </a:solidFill>
                <a:latin typeface="Trebuchet MS" panose="020B0603020202020204" pitchFamily="34" charset="0"/>
              </a:rPr>
              <a:t>PÚBLICA</a:t>
            </a:r>
          </a:p>
        </p:txBody>
      </p:sp>
    </p:spTree>
    <p:extLst>
      <p:ext uri="{BB962C8B-B14F-4D97-AF65-F5344CB8AC3E}">
        <p14:creationId xmlns:p14="http://schemas.microsoft.com/office/powerpoint/2010/main" val="3094538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A1526F-C36E-E442-84DD-1EC51E21DA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A4ADBF-A2DE-1F4D-8403-E41A68D76A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D13FB1-4C90-9242-9944-70CBEDD76E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15D68C-28F2-6845-AD00-C0F52F62963A}" type="datetimeFigureOut">
              <a:rPr lang="pt-BR" smtClean="0"/>
              <a:t>09/07/2025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733CCA-D539-3D43-B0FB-31F2ADA262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CB685D-0674-6046-87CC-FB171B077A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5DB5F9-6B41-F244-8618-E38A9C4C98B1}" type="slidenum">
              <a:rPr lang="pt-BR" smtClean="0"/>
              <a:t>‹nº›</a:t>
            </a:fld>
            <a:endParaRPr lang="pt-BR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2F249F0D-3212-6454-F0F7-6D75C48D1726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461963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t-BR" sz="900">
                <a:solidFill>
                  <a:srgbClr val="737373"/>
                </a:solidFill>
                <a:latin typeface="Trebuchet MS" panose="020B0603020202020204" pitchFamily="34" charset="0"/>
              </a:rPr>
              <a:t>PÚBLICA</a:t>
            </a:r>
          </a:p>
        </p:txBody>
      </p:sp>
    </p:spTree>
    <p:extLst>
      <p:ext uri="{BB962C8B-B14F-4D97-AF65-F5344CB8AC3E}">
        <p14:creationId xmlns:p14="http://schemas.microsoft.com/office/powerpoint/2010/main" val="3799768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  <p:sldLayoutId id="2147484086" r:id="rId5"/>
    <p:sldLayoutId id="2147484087" r:id="rId6"/>
    <p:sldLayoutId id="2147484088" r:id="rId7"/>
    <p:sldLayoutId id="2147484089" r:id="rId8"/>
    <p:sldLayoutId id="2147484090" r:id="rId9"/>
    <p:sldLayoutId id="2147484091" r:id="rId10"/>
    <p:sldLayoutId id="2147484092" r:id="rId11"/>
    <p:sldLayoutId id="2147484093" r:id="rId12"/>
    <p:sldLayoutId id="2147484094" r:id="rId13"/>
    <p:sldLayoutId id="2147484095" r:id="rId14"/>
    <p:sldLayoutId id="2147484096" r:id="rId15"/>
    <p:sldLayoutId id="2147484097" r:id="rId16"/>
    <p:sldLayoutId id="2147484098" r:id="rId17"/>
    <p:sldLayoutId id="2147484099" r:id="rId18"/>
    <p:sldLayoutId id="2147484100" r:id="rId19"/>
    <p:sldLayoutId id="2147484101" r:id="rId20"/>
    <p:sldLayoutId id="2147484102" r:id="rId21"/>
    <p:sldLayoutId id="2147484103" r:id="rId22"/>
    <p:sldLayoutId id="2147484104" r:id="rId23"/>
    <p:sldLayoutId id="2147484105" r:id="rId24"/>
    <p:sldLayoutId id="2147484106" r:id="rId2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AC2FBD89-E1E7-3550-E6A1-E7845D62F7C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461963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t-BR" sz="900">
                <a:solidFill>
                  <a:srgbClr val="737373"/>
                </a:solidFill>
                <a:latin typeface="Trebuchet MS" panose="020B0603020202020204" pitchFamily="34" charset="0"/>
              </a:rPr>
              <a:t>PÚBLICA</a:t>
            </a:r>
          </a:p>
        </p:txBody>
      </p:sp>
    </p:spTree>
    <p:extLst>
      <p:ext uri="{BB962C8B-B14F-4D97-AF65-F5344CB8AC3E}">
        <p14:creationId xmlns:p14="http://schemas.microsoft.com/office/powerpoint/2010/main" val="72062934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21" r:id="rId1"/>
    <p:sldLayoutId id="2147484122" r:id="rId2"/>
    <p:sldLayoutId id="2147484123" r:id="rId3"/>
    <p:sldLayoutId id="2147484124" r:id="rId4"/>
    <p:sldLayoutId id="2147484125" r:id="rId5"/>
    <p:sldLayoutId id="2147484126" r:id="rId6"/>
  </p:sldLayoutIdLst>
  <p:txStyles>
    <p:titleStyle>
      <a:lvl1pPr algn="l" defTabSz="91411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530" indent="-228530" algn="l" defTabSz="914117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798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1pPr>
      <a:lvl2pPr marL="685588" indent="-228530" algn="l" defTabSz="91411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399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2pPr>
      <a:lvl3pPr marL="1142647" indent="-228530" algn="l" defTabSz="91411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99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3pPr>
      <a:lvl4pPr marL="1599708" indent="-228530" algn="l" defTabSz="91411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4pPr>
      <a:lvl5pPr marL="2056765" indent="-228530" algn="l" defTabSz="91411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5pPr>
      <a:lvl6pPr marL="2513825" indent="-228530" algn="l" defTabSz="91411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883" indent="-228530" algn="l" defTabSz="91411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43" indent="-228530" algn="l" defTabSz="91411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01" indent="-228530" algn="l" defTabSz="91411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11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59" algn="l" defTabSz="91411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17" algn="l" defTabSz="91411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7" algn="l" defTabSz="91411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5" algn="l" defTabSz="91411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296" algn="l" defTabSz="91411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54" algn="l" defTabSz="91411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13" algn="l" defTabSz="91411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473" algn="l" defTabSz="91411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1.png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3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50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/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/>
          <p:cNvSpPr/>
          <p:nvPr/>
        </p:nvSpPr>
        <p:spPr>
          <a:xfrm>
            <a:off x="0" y="1992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 dirty="0">
              <a:solidFill>
                <a:schemeClr val="bg2">
                  <a:lumMod val="50000"/>
                </a:schemeClr>
              </a:solidFill>
              <a:highlight>
                <a:srgbClr val="FFFF00"/>
              </a:highlight>
              <a:latin typeface="Trebuchet MS" panose="020B0603020202020204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DE1E71C7-F89A-44ED-A132-C599A3E053F4}"/>
              </a:ext>
            </a:extLst>
          </p:cNvPr>
          <p:cNvSpPr txBox="1"/>
          <p:nvPr/>
        </p:nvSpPr>
        <p:spPr>
          <a:xfrm>
            <a:off x="1777910" y="3822107"/>
            <a:ext cx="85098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 defTabSz="1218824">
              <a:defRPr/>
            </a:pPr>
            <a:r>
              <a:rPr lang="en-US" sz="2000" b="1" kern="0" dirty="0">
                <a:solidFill>
                  <a:schemeClr val="bg2">
                    <a:lumMod val="50000"/>
                  </a:schemeClr>
                </a:solidFill>
                <a:latin typeface="Trebuchet MS" panose="020B0603020202020204"/>
              </a:rPr>
              <a:t>Wellington Nascimento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388A19D6-7551-87FC-6520-A0BA6F1F2A90}"/>
              </a:ext>
            </a:extLst>
          </p:cNvPr>
          <p:cNvSpPr/>
          <p:nvPr/>
        </p:nvSpPr>
        <p:spPr>
          <a:xfrm>
            <a:off x="1402080" y="1097281"/>
            <a:ext cx="423814" cy="106488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CaixaDeTexto 26"/>
          <p:cNvSpPr txBox="1"/>
          <p:nvPr/>
        </p:nvSpPr>
        <p:spPr>
          <a:xfrm>
            <a:off x="644268" y="1339519"/>
            <a:ext cx="1080426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12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DC82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—</a:t>
            </a:r>
          </a:p>
          <a:p>
            <a:pPr marL="0" lvl="1" algn="ctr" defTabSz="1218824">
              <a:defRPr/>
            </a:pPr>
            <a:r>
              <a:rPr lang="pt-BR" sz="3200" b="1" kern="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Resumo período sanduíche</a:t>
            </a:r>
          </a:p>
          <a:p>
            <a:pPr marL="0" lvl="1" algn="ctr" defTabSz="1218824">
              <a:defRPr/>
            </a:pPr>
            <a:r>
              <a:rPr lang="pt-BR" sz="3200" b="1" kern="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Proposta de projeto de tese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6FD9AE85-731F-30C2-570B-9011BC5E9F59}"/>
              </a:ext>
            </a:extLst>
          </p:cNvPr>
          <p:cNvSpPr txBox="1"/>
          <p:nvPr/>
        </p:nvSpPr>
        <p:spPr>
          <a:xfrm>
            <a:off x="271437" y="6523207"/>
            <a:ext cx="37053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 defTabSz="1218824">
              <a:defRPr/>
            </a:pPr>
            <a:r>
              <a:rPr lang="en-US" sz="1600" b="1" kern="0" dirty="0">
                <a:solidFill>
                  <a:schemeClr val="bg2">
                    <a:lumMod val="50000"/>
                  </a:schemeClr>
                </a:solidFill>
                <a:latin typeface="Trebuchet MS" panose="020B0603020202020204"/>
              </a:rPr>
              <a:t>06/05/25, Rio de Janeiro.</a:t>
            </a:r>
          </a:p>
        </p:txBody>
      </p:sp>
    </p:spTree>
    <p:extLst>
      <p:ext uri="{BB962C8B-B14F-4D97-AF65-F5344CB8AC3E}">
        <p14:creationId xmlns:p14="http://schemas.microsoft.com/office/powerpoint/2010/main" val="398645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D752997-F1D3-1EF9-6889-2CD7D9B6C9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014BAF80-7871-70FA-46A2-E7AE9CE63D70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E02ED7AD-ED16-DE79-1EE7-2F86379915E9}"/>
              </a:ext>
            </a:extLst>
          </p:cNvPr>
          <p:cNvSpPr/>
          <p:nvPr/>
        </p:nvSpPr>
        <p:spPr>
          <a:xfrm>
            <a:off x="1" y="134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14C78172-4E73-8ECD-9437-B1BB6B4BEF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6344" y="221448"/>
            <a:ext cx="2824103" cy="2885409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6E289220-9BA4-0BCE-FA0D-FDF2D80B34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235" y="203864"/>
            <a:ext cx="5648205" cy="2885409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1735370A-91A6-BD16-BC75-20EFACC2108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770"/>
          <a:stretch/>
        </p:blipFill>
        <p:spPr>
          <a:xfrm>
            <a:off x="927691" y="3250366"/>
            <a:ext cx="2896963" cy="2939258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01C83DA7-6FA3-D22A-8192-8F72CEB473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86961" y="3192169"/>
            <a:ext cx="2850479" cy="2997455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E003E559-1B6A-F086-E265-0723DB02CE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1509" y="3106857"/>
            <a:ext cx="2970030" cy="3082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7621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D752997-F1D3-1EF9-6889-2CD7D9B6C9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014BAF80-7871-70FA-46A2-E7AE9CE63D70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E02ED7AD-ED16-DE79-1EE7-2F86379915E9}"/>
              </a:ext>
            </a:extLst>
          </p:cNvPr>
          <p:cNvSpPr/>
          <p:nvPr/>
        </p:nvSpPr>
        <p:spPr>
          <a:xfrm>
            <a:off x="1" y="134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ítulo 1">
                <a:extLst>
                  <a:ext uri="{FF2B5EF4-FFF2-40B4-BE49-F238E27FC236}">
                    <a16:creationId xmlns:a16="http://schemas.microsoft.com/office/drawing/2014/main" id="{323C11BF-BCF3-AD09-C27E-EBCF718D0C9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0730" y="154064"/>
                <a:ext cx="6153356" cy="4075036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b="1" kern="1200">
                    <a:solidFill>
                      <a:srgbClr val="004165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just">
                  <a:defRPr/>
                </a:pPr>
                <a:endParaRPr lang="pt-BR" sz="1600" dirty="0">
                  <a:latin typeface="Petrobras Sans"/>
                </a:endParaRPr>
              </a:p>
              <a:p>
                <a:pPr marL="342900" indent="-342900" algn="just">
                  <a:buFont typeface="Arial" panose="020B0604020202020204" pitchFamily="34" charset="0"/>
                  <a:buChar char="•"/>
                  <a:defRPr/>
                </a:pPr>
                <a:endParaRPr lang="pt-BR" sz="1600" dirty="0"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Ø"/>
                  <a:defRPr/>
                </a:pPr>
                <a:r>
                  <a:rPr lang="pt-BR" b="0" dirty="0">
                    <a:solidFill>
                      <a:srgbClr val="004165"/>
                    </a:solidFill>
                    <a:latin typeface="Petrobras Sans"/>
                  </a:rPr>
                  <a:t>Paddock, Siegel </a:t>
                </a:r>
                <a:r>
                  <a:rPr lang="pt-BR" b="0" dirty="0" err="1">
                    <a:solidFill>
                      <a:srgbClr val="004165"/>
                    </a:solidFill>
                    <a:latin typeface="Petrobras Sans"/>
                  </a:rPr>
                  <a:t>and</a:t>
                </a:r>
                <a:r>
                  <a:rPr lang="pt-BR" b="0" dirty="0">
                    <a:solidFill>
                      <a:srgbClr val="004165"/>
                    </a:solidFill>
                    <a:latin typeface="Petrobras Sans"/>
                  </a:rPr>
                  <a:t> Smith model</a:t>
                </a:r>
              </a:p>
              <a:p>
                <a:pPr lvl="1" algn="just">
                  <a:defRPr/>
                </a:pPr>
                <a:endParaRPr lang="pt-BR" dirty="0">
                  <a:solidFill>
                    <a:srgbClr val="004165"/>
                  </a:solidFill>
                  <a:latin typeface="Petrobras Sans"/>
                </a:endParaRPr>
              </a:p>
              <a:p>
                <a:pPr lvl="1" algn="just">
                  <a:defRPr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p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sSup>
                        <m:sSupPr>
                          <m:ctrlP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p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f>
                        <m:fPr>
                          <m:ctrlP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pt-BR" b="0" i="1" smtClean="0">
                                  <a:solidFill>
                                    <a:srgbClr val="004165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t-BR" b="0" i="1" smtClean="0">
                                  <a:solidFill>
                                    <a:srgbClr val="004165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𝜕</m:t>
                              </m:r>
                            </m:e>
                            <m:sup>
                              <m:r>
                                <a:rPr lang="pt-BR" b="0" i="1" smtClean="0">
                                  <a:solidFill>
                                    <a:srgbClr val="004165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  <m:t>𝐹</m:t>
                          </m:r>
                        </m:num>
                        <m:den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𝜕</m:t>
                          </m:r>
                          <m:sSup>
                            <m:sSupPr>
                              <m:ctrlPr>
                                <a:rPr lang="pt-BR" b="0" i="1" smtClean="0">
                                  <a:solidFill>
                                    <a:srgbClr val="004165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t-BR" b="0" i="1" smtClean="0">
                                  <a:solidFill>
                                    <a:srgbClr val="004165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p>
                              <m:r>
                                <a:rPr lang="pt-BR" b="0" i="1" smtClean="0">
                                  <a:solidFill>
                                    <a:srgbClr val="004165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pt-BR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𝛿</m:t>
                          </m:r>
                        </m:e>
                      </m:d>
                      <m:r>
                        <a:rPr lang="pt-BR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</a:rPr>
                        <m:t>𝑃</m:t>
                      </m:r>
                      <m:f>
                        <m:fPr>
                          <m:ctrlP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𝜕</m:t>
                          </m:r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𝐹</m:t>
                          </m:r>
                        </m:num>
                        <m:den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𝜕</m:t>
                          </m:r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𝑃</m:t>
                          </m:r>
                        </m:den>
                      </m:f>
                      <m:r>
                        <a:rPr lang="pt-BR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pt-BR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</a:rPr>
                        <m:t>𝑟𝑅</m:t>
                      </m:r>
                      <m:r>
                        <a:rPr lang="pt-BR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𝜕</m:t>
                          </m:r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𝐹</m:t>
                          </m:r>
                        </m:num>
                        <m:den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𝜕</m:t>
                          </m:r>
                          <m:r>
                            <a:rPr lang="pt-BR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pt-BR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pt-BR" b="0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Ø"/>
                  <a:defRPr/>
                </a:pPr>
                <a:endParaRPr lang="pt-BR" b="0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800100" lvl="1" indent="-342900" algn="just">
                  <a:buFont typeface="Arial" panose="020B0604020202020204" pitchFamily="34" charset="0"/>
                  <a:buChar char="•"/>
                  <a:defRPr/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pt-BR" b="0" i="0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F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𝑃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𝑡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pt-BR" b="0" dirty="0">
                    <a:solidFill>
                      <a:srgbClr val="004165"/>
                    </a:solidFill>
                    <a:latin typeface="Petrobras Sans"/>
                  </a:rPr>
                  <a:t>: </a:t>
                </a:r>
                <a:r>
                  <a:rPr lang="pt-BR" b="0" dirty="0" err="1">
                    <a:solidFill>
                      <a:srgbClr val="004165"/>
                    </a:solidFill>
                    <a:latin typeface="Petrobras Sans"/>
                  </a:rPr>
                  <a:t>value</a:t>
                </a:r>
                <a:r>
                  <a:rPr lang="pt-BR" b="0" dirty="0">
                    <a:solidFill>
                      <a:srgbClr val="004165"/>
                    </a:solidFill>
                    <a:latin typeface="Petrobras Sans"/>
                  </a:rPr>
                  <a:t> of </a:t>
                </a:r>
                <a:r>
                  <a:rPr lang="pt-BR" b="0" dirty="0" err="1">
                    <a:solidFill>
                      <a:srgbClr val="004165"/>
                    </a:solidFill>
                    <a:latin typeface="Petrobras Sans"/>
                  </a:rPr>
                  <a:t>undeveloped</a:t>
                </a:r>
                <a:r>
                  <a:rPr lang="pt-BR" b="0" dirty="0">
                    <a:solidFill>
                      <a:srgbClr val="004165"/>
                    </a:solidFill>
                    <a:latin typeface="Petrobras Sans"/>
                  </a:rPr>
                  <a:t> reserve</a:t>
                </a:r>
              </a:p>
              <a:p>
                <a:pPr marL="800100" lvl="1" indent="-342900" algn="just">
                  <a:buFont typeface="Arial" panose="020B0604020202020204" pitchFamily="34" charset="0"/>
                  <a:buChar char="•"/>
                  <a:defRPr/>
                </a:pPr>
                <a14:m>
                  <m:oMath xmlns:m="http://schemas.openxmlformats.org/officeDocument/2006/math"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𝜎</m:t>
                    </m:r>
                  </m:oMath>
                </a14:m>
                <a:r>
                  <a:rPr lang="pt-BR" b="0" dirty="0">
                    <a:solidFill>
                      <a:srgbClr val="004165"/>
                    </a:solidFill>
                    <a:latin typeface="Petrobras Sans"/>
                  </a:rPr>
                  <a:t>: </a:t>
                </a:r>
                <a:r>
                  <a:rPr lang="pt-BR" b="0" dirty="0" err="1">
                    <a:solidFill>
                      <a:srgbClr val="004165"/>
                    </a:solidFill>
                    <a:latin typeface="Petrobras Sans"/>
                  </a:rPr>
                  <a:t>volatility</a:t>
                </a:r>
                <a:endParaRPr lang="pt-BR" b="0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800100" lvl="1" indent="-342900" algn="just">
                  <a:buFont typeface="Arial" panose="020B0604020202020204" pitchFamily="34" charset="0"/>
                  <a:buChar char="•"/>
                  <a:defRPr/>
                </a:pPr>
                <a14:m>
                  <m:oMath xmlns:m="http://schemas.openxmlformats.org/officeDocument/2006/math"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𝑃</m:t>
                    </m:r>
                  </m:oMath>
                </a14:m>
                <a:r>
                  <a:rPr lang="pt-BR" b="0" dirty="0">
                    <a:solidFill>
                      <a:srgbClr val="004165"/>
                    </a:solidFill>
                    <a:latin typeface="Petrobras Sans"/>
                  </a:rPr>
                  <a:t>: oil price</a:t>
                </a:r>
              </a:p>
              <a:p>
                <a:pPr marL="800100" lvl="1" indent="-342900" algn="just">
                  <a:buFont typeface="Arial" panose="020B0604020202020204" pitchFamily="34" charset="0"/>
                  <a:buChar char="•"/>
                  <a:defRPr/>
                </a:pPr>
                <a14:m>
                  <m:oMath xmlns:m="http://schemas.openxmlformats.org/officeDocument/2006/math"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𝑟</m:t>
                    </m:r>
                  </m:oMath>
                </a14:m>
                <a:r>
                  <a:rPr lang="pt-BR" b="0" dirty="0">
                    <a:solidFill>
                      <a:srgbClr val="004165"/>
                    </a:solidFill>
                    <a:latin typeface="Petrobras Sans"/>
                  </a:rPr>
                  <a:t>: </a:t>
                </a:r>
                <a:r>
                  <a:rPr lang="pt-BR" b="0" dirty="0" err="1">
                    <a:solidFill>
                      <a:srgbClr val="004165"/>
                    </a:solidFill>
                    <a:latin typeface="Petrobras Sans"/>
                  </a:rPr>
                  <a:t>risk-free</a:t>
                </a:r>
                <a:r>
                  <a:rPr lang="pt-BR" b="0" dirty="0">
                    <a:solidFill>
                      <a:srgbClr val="004165"/>
                    </a:solidFill>
                    <a:latin typeface="Petrobras Sans"/>
                  </a:rPr>
                  <a:t> rate</a:t>
                </a:r>
              </a:p>
              <a:p>
                <a:pPr marL="800100" lvl="1" indent="-342900" algn="just">
                  <a:buFont typeface="Arial" panose="020B0604020202020204" pitchFamily="34" charset="0"/>
                  <a:buChar char="•"/>
                  <a:defRPr/>
                </a:pPr>
                <a14:m>
                  <m:oMath xmlns:m="http://schemas.openxmlformats.org/officeDocument/2006/math"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𝛿</m:t>
                    </m:r>
                  </m:oMath>
                </a14:m>
                <a:r>
                  <a:rPr lang="pt-BR" b="0" dirty="0">
                    <a:solidFill>
                      <a:srgbClr val="004165"/>
                    </a:solidFill>
                    <a:latin typeface="Petrobras Sans"/>
                  </a:rPr>
                  <a:t>: </a:t>
                </a:r>
                <a:r>
                  <a:rPr lang="pt-BR" b="0" dirty="0" err="1">
                    <a:solidFill>
                      <a:srgbClr val="004165"/>
                    </a:solidFill>
                    <a:latin typeface="Petrobras Sans"/>
                  </a:rPr>
                  <a:t>convenience</a:t>
                </a:r>
                <a:r>
                  <a:rPr lang="pt-BR" b="0" dirty="0">
                    <a:solidFill>
                      <a:srgbClr val="004165"/>
                    </a:solidFill>
                    <a:latin typeface="Petrobras Sans"/>
                  </a:rPr>
                  <a:t> </a:t>
                </a:r>
                <a:r>
                  <a:rPr lang="pt-BR" b="0" dirty="0" err="1">
                    <a:solidFill>
                      <a:srgbClr val="004165"/>
                    </a:solidFill>
                    <a:latin typeface="Petrobras Sans"/>
                  </a:rPr>
                  <a:t>fee</a:t>
                </a:r>
                <a:endParaRPr lang="pt-BR" b="0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800100" lvl="1" indent="-342900" algn="just">
                  <a:buFont typeface="Arial" panose="020B0604020202020204" pitchFamily="34" charset="0"/>
                  <a:buChar char="•"/>
                  <a:defRPr/>
                </a:pPr>
                <a:endParaRPr lang="pt-BR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800100" lvl="1" indent="-342900" algn="just">
                  <a:buFont typeface="Arial" panose="020B0604020202020204" pitchFamily="34" charset="0"/>
                  <a:buChar char="•"/>
                  <a:defRPr/>
                </a:pPr>
                <a:r>
                  <a:rPr lang="pt-BR" b="0" dirty="0" err="1">
                    <a:solidFill>
                      <a:srgbClr val="004165"/>
                    </a:solidFill>
                    <a:latin typeface="Petrobras Sans"/>
                  </a:rPr>
                  <a:t>Solution</a:t>
                </a:r>
                <a:r>
                  <a:rPr lang="pt-BR" b="0" dirty="0">
                    <a:solidFill>
                      <a:srgbClr val="004165"/>
                    </a:solidFill>
                    <a:latin typeface="Petrobras Sans"/>
                  </a:rPr>
                  <a:t> </a:t>
                </a:r>
                <a:r>
                  <a:rPr lang="pt-BR" b="0" dirty="0" err="1">
                    <a:solidFill>
                      <a:srgbClr val="004165"/>
                    </a:solidFill>
                    <a:latin typeface="Petrobras Sans"/>
                  </a:rPr>
                  <a:t>by</a:t>
                </a:r>
                <a:r>
                  <a:rPr lang="pt-BR" b="0" dirty="0">
                    <a:solidFill>
                      <a:srgbClr val="004165"/>
                    </a:solidFill>
                    <a:latin typeface="Petrobras Sans"/>
                  </a:rPr>
                  <a:t> PINN (</a:t>
                </a:r>
                <a:r>
                  <a:rPr lang="pt-BR" b="0" dirty="0" err="1">
                    <a:solidFill>
                      <a:srgbClr val="004165"/>
                    </a:solidFill>
                    <a:latin typeface="Petrobras Sans"/>
                  </a:rPr>
                  <a:t>Physics-Informed</a:t>
                </a:r>
                <a:r>
                  <a:rPr lang="pt-BR" b="0" dirty="0">
                    <a:solidFill>
                      <a:srgbClr val="004165"/>
                    </a:solidFill>
                    <a:latin typeface="Petrobras Sans"/>
                  </a:rPr>
                  <a:t> Neural </a:t>
                </a:r>
                <a:r>
                  <a:rPr lang="pt-BR" dirty="0">
                    <a:solidFill>
                      <a:srgbClr val="004165"/>
                    </a:solidFill>
                    <a:latin typeface="Petrobras Sans"/>
                  </a:rPr>
                  <a:t>N</a:t>
                </a:r>
                <a:r>
                  <a:rPr lang="pt-BR" b="0" dirty="0">
                    <a:solidFill>
                      <a:srgbClr val="004165"/>
                    </a:solidFill>
                    <a:latin typeface="Petrobras Sans"/>
                  </a:rPr>
                  <a:t>etworks)</a:t>
                </a:r>
              </a:p>
              <a:p>
                <a:pPr marL="800100" lvl="1" indent="-342900" algn="just">
                  <a:buFont typeface="Arial" panose="020B0604020202020204" pitchFamily="34" charset="0"/>
                  <a:buChar char="•"/>
                  <a:defRPr/>
                </a:pPr>
                <a:endParaRPr lang="pt-BR" b="0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342900" indent="-342900" algn="just">
                  <a:buFont typeface="Wingdings" panose="05000000000000000000" pitchFamily="2" charset="2"/>
                  <a:buChar char="ü"/>
                  <a:defRPr/>
                </a:pPr>
                <a:endParaRPr lang="pt-BR" sz="1600" b="0" dirty="0"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ü"/>
                  <a:defRPr/>
                </a:pPr>
                <a:endParaRPr lang="pt-BR" sz="800" b="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160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160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160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160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1600" b="0" dirty="0">
                  <a:latin typeface="Petrobras Sans"/>
                </a:endParaRPr>
              </a:p>
              <a:p>
                <a:pPr marL="800100" lvl="1" indent="-342900" algn="just">
                  <a:lnSpc>
                    <a:spcPct val="9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  <a:defRPr/>
                </a:pPr>
                <a:endParaRPr lang="pt-BR" sz="1600" dirty="0">
                  <a:solidFill>
                    <a:srgbClr val="004165"/>
                  </a:solidFill>
                  <a:latin typeface="Petrobras Sans"/>
                </a:endParaRPr>
              </a:p>
            </p:txBody>
          </p:sp>
        </mc:Choice>
        <mc:Fallback xmlns="">
          <p:sp>
            <p:nvSpPr>
              <p:cNvPr id="4" name="Título 1">
                <a:extLst>
                  <a:ext uri="{FF2B5EF4-FFF2-40B4-BE49-F238E27FC236}">
                    <a16:creationId xmlns:a16="http://schemas.microsoft.com/office/drawing/2014/main" id="{323C11BF-BCF3-AD09-C27E-EBCF718D0C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0730" y="154064"/>
                <a:ext cx="6153356" cy="407503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" name="Imagem 1">
            <a:extLst>
              <a:ext uri="{FF2B5EF4-FFF2-40B4-BE49-F238E27FC236}">
                <a16:creationId xmlns:a16="http://schemas.microsoft.com/office/drawing/2014/main" id="{0CD64FC5-0365-48ED-F727-65FB68923D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812" y="4062046"/>
            <a:ext cx="4666130" cy="1937066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335E22FE-A7B6-871B-303B-234A133FFF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16793" y="4062046"/>
            <a:ext cx="3189315" cy="204755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Título 1">
                <a:extLst>
                  <a:ext uri="{FF2B5EF4-FFF2-40B4-BE49-F238E27FC236}">
                    <a16:creationId xmlns:a16="http://schemas.microsoft.com/office/drawing/2014/main" id="{5D3BE7E6-66C6-44FF-C87C-FC67D4A2CE9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04136" y="420459"/>
                <a:ext cx="6457786" cy="3056522"/>
              </a:xfrm>
              <a:prstGeom prst="rect">
                <a:avLst/>
              </a:prstGeom>
              <a:ln>
                <a:solidFill>
                  <a:schemeClr val="bg2"/>
                </a:solidFill>
              </a:ln>
            </p:spPr>
            <p:txBody>
              <a:bodyPr vert="horz" lIns="0" tIns="0" rIns="0" bIns="0" rtlCol="0" anchor="t">
                <a:no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b="1" kern="1200">
                    <a:solidFill>
                      <a:srgbClr val="004165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marL="342900" indent="-342900" algn="just">
                  <a:buFont typeface="Arial" panose="020B0604020202020204" pitchFamily="34" charset="0"/>
                  <a:buChar char="•"/>
                  <a:defRPr/>
                </a:pPr>
                <a:r>
                  <a:rPr lang="pt-BR" sz="1600" dirty="0" err="1">
                    <a:latin typeface="Petrobras Sans"/>
                  </a:rPr>
                  <a:t>Solution</a:t>
                </a:r>
                <a:endParaRPr lang="pt-BR" sz="1600" dirty="0">
                  <a:latin typeface="Petrobras Sans"/>
                </a:endParaRPr>
              </a:p>
              <a:p>
                <a:pPr marL="342900" indent="-342900" algn="just">
                  <a:buFont typeface="Arial" panose="020B0604020202020204" pitchFamily="34" charset="0"/>
                  <a:buChar char="•"/>
                  <a:defRPr/>
                </a:pPr>
                <a:endParaRPr lang="pt-BR" sz="1600" dirty="0"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Ø"/>
                  <a:defRPr/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𝜂</m:t>
                        </m:r>
                      </m:e>
                      <m:sup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d>
                      <m:dPr>
                        <m:ctrlP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e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</m:d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𝑣𝑎𝑟</m:t>
                        </m:r>
                        <m:d>
                          <m:dPr>
                            <m:ctrlPr>
                              <a:rPr lang="pt-BR" b="0" i="1" smtClean="0">
                                <a:solidFill>
                                  <a:srgbClr val="004165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pt-BR" b="0" i="1" smtClean="0">
                                <a:solidFill>
                                  <a:srgbClr val="004165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</m:d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pt-BR" b="0" i="1" smtClean="0">
                                <a:solidFill>
                                  <a:srgbClr val="004165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pt-BR" b="0" i="1" smtClean="0">
                                <a:solidFill>
                                  <a:srgbClr val="004165"/>
                                </a:solidFill>
                                <a:latin typeface="Cambria Math" panose="02040503050406030204" pitchFamily="18" charset="0"/>
                              </a:rPr>
                              <m:t>𝑣𝑎𝑟</m:t>
                            </m:r>
                            <m:d>
                              <m:dPr>
                                <m:ctrlPr>
                                  <a:rPr lang="pt-BR" b="0" i="1" smtClean="0">
                                    <a:solidFill>
                                      <a:srgbClr val="004165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pt-BR" b="0" i="1" smtClean="0">
                                    <a:solidFill>
                                      <a:srgbClr val="004165"/>
                                    </a:solidFill>
                                    <a:latin typeface="Cambria Math" panose="02040503050406030204" pitchFamily="18" charset="0"/>
                                  </a:rPr>
                                  <m:t>𝑋</m:t>
                                </m:r>
                              </m:e>
                              <m:e>
                                <m:r>
                                  <a:rPr lang="pt-BR" b="0" i="1" smtClean="0">
                                    <a:solidFill>
                                      <a:srgbClr val="004165"/>
                                    </a:solidFill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</m:e>
                            </m:d>
                          </m:e>
                        </m:d>
                      </m:num>
                      <m:den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𝑣𝑎𝑟</m:t>
                        </m:r>
                        <m:d>
                          <m:dPr>
                            <m:ctrlPr>
                              <a:rPr lang="pt-BR" b="0" i="1" smtClean="0">
                                <a:solidFill>
                                  <a:srgbClr val="004165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pt-BR" b="0" i="1" smtClean="0">
                                <a:solidFill>
                                  <a:srgbClr val="004165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</m:d>
                      </m:den>
                    </m:f>
                  </m:oMath>
                </a14:m>
                <a:endParaRPr lang="pt-BR" b="0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Ø"/>
                  <a:defRPr/>
                </a:pPr>
                <a:endParaRPr lang="pt-BR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Ø"/>
                  <a:defRPr/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𝜂</m:t>
                        </m:r>
                      </m:e>
                      <m:sup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d>
                      <m:dPr>
                        <m:ctrlP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𝑣𝑜𝑙</m:t>
                        </m:r>
                      </m:e>
                      <m:e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</m:d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=16%</m:t>
                    </m:r>
                  </m:oMath>
                </a14:m>
                <a:r>
                  <a:rPr lang="pt-BR" dirty="0">
                    <a:solidFill>
                      <a:srgbClr val="004165"/>
                    </a:solidFill>
                    <a:latin typeface="Petrobras Sans"/>
                  </a:rPr>
                  <a:t> (</a:t>
                </a:r>
                <a:r>
                  <a:rPr lang="pt-BR" dirty="0" err="1">
                    <a:solidFill>
                      <a:srgbClr val="004165"/>
                    </a:solidFill>
                    <a:latin typeface="Petrobras Sans"/>
                  </a:rPr>
                  <a:t>well</a:t>
                </a:r>
                <a:r>
                  <a:rPr lang="pt-BR" dirty="0">
                    <a:solidFill>
                      <a:srgbClr val="004165"/>
                    </a:solidFill>
                    <a:latin typeface="Petrobras Sans"/>
                  </a:rPr>
                  <a:t> A)</a:t>
                </a:r>
              </a:p>
              <a:p>
                <a:pPr marL="800100" lvl="1" indent="-342900" algn="just">
                  <a:buFont typeface="Wingdings" panose="05000000000000000000" pitchFamily="2" charset="2"/>
                  <a:buChar char="Ø"/>
                  <a:defRPr/>
                </a:pPr>
                <a:endParaRPr lang="pt-BR" b="0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Ø"/>
                  <a:defRPr/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𝜂</m:t>
                        </m:r>
                      </m:e>
                      <m:sup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d>
                      <m:dPr>
                        <m:ctrlP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𝑣𝑜𝑙</m:t>
                        </m:r>
                      </m:e>
                      <m:e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</m:d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=11%</m:t>
                    </m:r>
                  </m:oMath>
                </a14:m>
                <a:r>
                  <a:rPr lang="pt-BR" dirty="0">
                    <a:solidFill>
                      <a:srgbClr val="004165"/>
                    </a:solidFill>
                    <a:latin typeface="Petrobras Sans"/>
                  </a:rPr>
                  <a:t> (</a:t>
                </a:r>
                <a:r>
                  <a:rPr lang="pt-BR" dirty="0" err="1">
                    <a:solidFill>
                      <a:srgbClr val="004165"/>
                    </a:solidFill>
                    <a:latin typeface="Petrobras Sans"/>
                  </a:rPr>
                  <a:t>well</a:t>
                </a:r>
                <a:r>
                  <a:rPr lang="pt-BR" dirty="0">
                    <a:solidFill>
                      <a:srgbClr val="004165"/>
                    </a:solidFill>
                    <a:latin typeface="Petrobras Sans"/>
                  </a:rPr>
                  <a:t> B)</a:t>
                </a:r>
              </a:p>
              <a:p>
                <a:pPr marL="800100" lvl="1" indent="-342900" algn="just">
                  <a:buFont typeface="Wingdings" panose="05000000000000000000" pitchFamily="2" charset="2"/>
                  <a:buChar char="Ø"/>
                  <a:defRPr/>
                </a:pPr>
                <a:endParaRPr lang="pt-BR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Ø"/>
                  <a:defRPr/>
                </a:pPr>
                <a:r>
                  <a:rPr lang="pt-BR" dirty="0">
                    <a:solidFill>
                      <a:srgbClr val="004165"/>
                    </a:solidFill>
                    <a:latin typeface="Petrobras Sans"/>
                  </a:rPr>
                  <a:t>In </a:t>
                </a:r>
                <a:r>
                  <a:rPr lang="pt-BR" dirty="0" err="1">
                    <a:solidFill>
                      <a:srgbClr val="004165"/>
                    </a:solidFill>
                    <a:latin typeface="Petrobras Sans"/>
                  </a:rPr>
                  <a:t>this</a:t>
                </a:r>
                <a:r>
                  <a:rPr lang="pt-BR" dirty="0">
                    <a:solidFill>
                      <a:srgbClr val="004165"/>
                    </a:solidFill>
                    <a:latin typeface="Petrobras Sans"/>
                  </a:rPr>
                  <a:t> case the </a:t>
                </a:r>
                <a:r>
                  <a:rPr lang="pt-BR" dirty="0" err="1">
                    <a:solidFill>
                      <a:srgbClr val="004165"/>
                    </a:solidFill>
                    <a:latin typeface="Petrobras Sans"/>
                  </a:rPr>
                  <a:t>best</a:t>
                </a:r>
                <a:r>
                  <a:rPr lang="pt-BR" dirty="0">
                    <a:solidFill>
                      <a:srgbClr val="004165"/>
                    </a:solidFill>
                    <a:latin typeface="Petrobras Sans"/>
                  </a:rPr>
                  <a:t> </a:t>
                </a:r>
                <a:r>
                  <a:rPr lang="pt-BR" dirty="0" err="1">
                    <a:solidFill>
                      <a:srgbClr val="004165"/>
                    </a:solidFill>
                    <a:latin typeface="Petrobras Sans"/>
                  </a:rPr>
                  <a:t>sequence</a:t>
                </a:r>
                <a:r>
                  <a:rPr lang="pt-BR" dirty="0">
                    <a:solidFill>
                      <a:srgbClr val="004165"/>
                    </a:solidFill>
                    <a:latin typeface="Petrobras Sans"/>
                  </a:rPr>
                  <a:t> </a:t>
                </a:r>
                <a:r>
                  <a:rPr lang="pt-BR" dirty="0" err="1">
                    <a:solidFill>
                      <a:srgbClr val="004165"/>
                    </a:solidFill>
                    <a:latin typeface="Petrobras Sans"/>
                  </a:rPr>
                  <a:t>to</a:t>
                </a:r>
                <a:r>
                  <a:rPr lang="pt-BR" dirty="0">
                    <a:solidFill>
                      <a:srgbClr val="004165"/>
                    </a:solidFill>
                    <a:latin typeface="Petrobras Sans"/>
                  </a:rPr>
                  <a:t> </a:t>
                </a:r>
                <a:r>
                  <a:rPr lang="pt-BR" dirty="0" err="1">
                    <a:solidFill>
                      <a:srgbClr val="004165"/>
                    </a:solidFill>
                    <a:latin typeface="Petrobras Sans"/>
                  </a:rPr>
                  <a:t>drilling</a:t>
                </a:r>
                <a:r>
                  <a:rPr lang="pt-BR" dirty="0">
                    <a:solidFill>
                      <a:srgbClr val="004165"/>
                    </a:solidFill>
                    <a:latin typeface="Petrobras Sans"/>
                  </a:rPr>
                  <a:t> </a:t>
                </a:r>
                <a:r>
                  <a:rPr lang="pt-BR" dirty="0" err="1">
                    <a:solidFill>
                      <a:srgbClr val="004165"/>
                    </a:solidFill>
                    <a:latin typeface="Petrobras Sans"/>
                  </a:rPr>
                  <a:t>is</a:t>
                </a:r>
                <a:r>
                  <a:rPr lang="pt-BR" dirty="0">
                    <a:solidFill>
                      <a:srgbClr val="004165"/>
                    </a:solidFill>
                    <a:latin typeface="Petrobras Sans"/>
                  </a:rPr>
                  <a:t>: </a:t>
                </a:r>
                <a:r>
                  <a:rPr lang="pt-BR" dirty="0" err="1">
                    <a:solidFill>
                      <a:srgbClr val="004165"/>
                    </a:solidFill>
                    <a:latin typeface="Petrobras Sans"/>
                  </a:rPr>
                  <a:t>well</a:t>
                </a:r>
                <a:r>
                  <a:rPr lang="pt-BR" dirty="0">
                    <a:solidFill>
                      <a:srgbClr val="004165"/>
                    </a:solidFill>
                    <a:latin typeface="Petrobras Sans"/>
                  </a:rPr>
                  <a:t> A </a:t>
                </a:r>
                <a:r>
                  <a:rPr lang="pt-BR" dirty="0">
                    <a:solidFill>
                      <a:srgbClr val="004165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→ </a:t>
                </a:r>
                <a:r>
                  <a:rPr lang="pt-BR" dirty="0" err="1">
                    <a:solidFill>
                      <a:srgbClr val="004165"/>
                    </a:solidFill>
                    <a:latin typeface="Petrobras Sans" panose="020B0606020204030204" pitchFamily="34" charset="0"/>
                    <a:cs typeface="Times New Roman" panose="02020603050405020304" pitchFamily="18" charset="0"/>
                  </a:rPr>
                  <a:t>well</a:t>
                </a:r>
                <a:r>
                  <a:rPr lang="pt-BR" dirty="0">
                    <a:solidFill>
                      <a:srgbClr val="004165"/>
                    </a:solidFill>
                    <a:latin typeface="Petrobras Sans" panose="020B0606020204030204" pitchFamily="34" charset="0"/>
                    <a:cs typeface="Times New Roman" panose="02020603050405020304" pitchFamily="18" charset="0"/>
                  </a:rPr>
                  <a:t> B.</a:t>
                </a:r>
                <a:endParaRPr lang="pt-BR" b="0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Ø"/>
                  <a:defRPr/>
                </a:pPr>
                <a:endParaRPr lang="pt-BR" b="0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342900" indent="-342900" algn="just">
                  <a:buFont typeface="Wingdings" panose="05000000000000000000" pitchFamily="2" charset="2"/>
                  <a:buChar char="ü"/>
                  <a:defRPr/>
                </a:pPr>
                <a:endParaRPr lang="pt-BR" sz="1600" b="0" dirty="0"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ü"/>
                  <a:defRPr/>
                </a:pPr>
                <a:endParaRPr lang="pt-BR" sz="800" b="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160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160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160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160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1600" b="0" dirty="0">
                  <a:latin typeface="Petrobras Sans"/>
                </a:endParaRPr>
              </a:p>
              <a:p>
                <a:pPr marL="800100" lvl="1" indent="-342900" algn="just">
                  <a:lnSpc>
                    <a:spcPct val="9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  <a:defRPr/>
                </a:pPr>
                <a:endParaRPr lang="pt-BR" sz="1600" dirty="0">
                  <a:solidFill>
                    <a:srgbClr val="004165"/>
                  </a:solidFill>
                  <a:latin typeface="Petrobras Sans"/>
                </a:endParaRPr>
              </a:p>
            </p:txBody>
          </p:sp>
        </mc:Choice>
        <mc:Fallback xmlns="">
          <p:sp>
            <p:nvSpPr>
              <p:cNvPr id="5" name="Título 1">
                <a:extLst>
                  <a:ext uri="{FF2B5EF4-FFF2-40B4-BE49-F238E27FC236}">
                    <a16:creationId xmlns:a16="http://schemas.microsoft.com/office/drawing/2014/main" id="{5D3BE7E6-66C6-44FF-C87C-FC67D4A2CE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04136" y="420459"/>
                <a:ext cx="6457786" cy="3056522"/>
              </a:xfrm>
              <a:prstGeom prst="rect">
                <a:avLst/>
              </a:prstGeom>
              <a:blipFill>
                <a:blip r:embed="rId6"/>
                <a:stretch>
                  <a:fillRect l="-1697" t="-2783" r="-566"/>
                </a:stretch>
              </a:blipFill>
              <a:ln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75850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1F690C5-838C-C19E-B192-7463583C0E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83AAAF99-BFD4-3A1C-CEBE-5DCC133C2FD3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2456E88D-5104-8518-17C4-E30FA5D4808F}"/>
              </a:ext>
            </a:extLst>
          </p:cNvPr>
          <p:cNvSpPr/>
          <p:nvPr/>
        </p:nvSpPr>
        <p:spPr>
          <a:xfrm>
            <a:off x="-1" y="133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 dirty="0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3586A11B-E94E-C432-66A9-CB8F06830C9A}"/>
              </a:ext>
            </a:extLst>
          </p:cNvPr>
          <p:cNvSpPr txBox="1">
            <a:spLocks/>
          </p:cNvSpPr>
          <p:nvPr/>
        </p:nvSpPr>
        <p:spPr>
          <a:xfrm>
            <a:off x="468867" y="593680"/>
            <a:ext cx="10925964" cy="59057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004165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pt-BR" sz="200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r>
              <a:rPr lang="pt-BR" sz="2000" dirty="0">
                <a:latin typeface="Petrobras Sans"/>
              </a:rPr>
              <a:t>Proposta de projeto de tese</a:t>
            </a:r>
            <a:r>
              <a:rPr lang="pt-BR" sz="2000" b="0" dirty="0">
                <a:latin typeface="Petrobras Sans"/>
              </a:rPr>
              <a:t>.</a:t>
            </a: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pt-BR" sz="2000" b="0" dirty="0">
              <a:latin typeface="Petrobras Sans"/>
            </a:endParaRPr>
          </a:p>
          <a:p>
            <a:pPr>
              <a:defRPr/>
            </a:pPr>
            <a:r>
              <a:rPr lang="pt-BR" sz="2000" b="0" dirty="0">
                <a:latin typeface="Petrobras Sans"/>
              </a:rPr>
              <a:t> </a:t>
            </a:r>
            <a:endParaRPr lang="pt-BR" sz="2000" dirty="0">
              <a:latin typeface="Petrobras Sans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pt-BR" sz="2000" dirty="0">
              <a:latin typeface="Petrobras Sans"/>
            </a:endParaRPr>
          </a:p>
          <a:p>
            <a:pPr algn="just">
              <a:defRPr/>
            </a:pPr>
            <a:endParaRPr lang="pt-BR" sz="2000" dirty="0">
              <a:latin typeface="Petrobras Sans"/>
            </a:endParaRPr>
          </a:p>
          <a:p>
            <a:pPr algn="just">
              <a:defRPr/>
            </a:pPr>
            <a:endParaRPr lang="pt-BR" sz="2000" b="0" dirty="0">
              <a:latin typeface="Petrobras Sans"/>
            </a:endParaRPr>
          </a:p>
          <a:p>
            <a:pPr marL="800100" lvl="1" indent="-342900" algn="just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pt-BR" sz="2000" dirty="0">
              <a:solidFill>
                <a:srgbClr val="004165"/>
              </a:solidFill>
              <a:latin typeface="Petrobras Sans"/>
            </a:endParaRP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7893F789-90F2-A384-BCB4-9440C55D7B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867" y="1504773"/>
            <a:ext cx="7027141" cy="1333855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8C301439-4F03-7709-0D22-A7174E1BF2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867" y="3133003"/>
            <a:ext cx="6747160" cy="2865772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8EAA8D9A-A4AB-C8C7-AA89-BBB60A96E0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37417" y="511303"/>
            <a:ext cx="1858442" cy="1825387"/>
          </a:xfrm>
          <a:prstGeom prst="rect">
            <a:avLst/>
          </a:prstGeom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id="{53A7B24B-5646-7116-7E80-E26DD939BA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63841" y="525994"/>
            <a:ext cx="1876806" cy="1810696"/>
          </a:xfrm>
          <a:prstGeom prst="rect">
            <a:avLst/>
          </a:prstGeom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id="{502887A1-3A93-2EAC-C0A6-27988314BF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00179" y="2441034"/>
            <a:ext cx="3726514" cy="1123869"/>
          </a:xfrm>
          <a:prstGeom prst="rect">
            <a:avLst/>
          </a:prstGeom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id="{DD71E8B0-56CC-6248-CD6D-DC72A56C312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93583" y="3896677"/>
            <a:ext cx="4021086" cy="1249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4663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0BCEE23-1857-F79C-1A04-960564E1E4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18F66D98-A0F6-EDC9-86F1-C6D1BA791602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723C71D7-4C02-E251-D705-23DDE4D9043E}"/>
              </a:ext>
            </a:extLst>
          </p:cNvPr>
          <p:cNvSpPr/>
          <p:nvPr/>
        </p:nvSpPr>
        <p:spPr>
          <a:xfrm>
            <a:off x="-1" y="133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 dirty="0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34CF85F2-6E89-BBD5-F5BE-389F4F439179}"/>
              </a:ext>
            </a:extLst>
          </p:cNvPr>
          <p:cNvSpPr txBox="1">
            <a:spLocks/>
          </p:cNvSpPr>
          <p:nvPr/>
        </p:nvSpPr>
        <p:spPr>
          <a:xfrm>
            <a:off x="468867" y="593680"/>
            <a:ext cx="10925964" cy="59057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004165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pt-BR" sz="200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r>
              <a:rPr lang="pt-BR" sz="2000" dirty="0">
                <a:latin typeface="Petrobras Sans"/>
              </a:rPr>
              <a:t>Proposta de projeto de tese</a:t>
            </a:r>
            <a:r>
              <a:rPr lang="pt-BR" sz="2000" b="0" dirty="0">
                <a:latin typeface="Petrobras Sans"/>
              </a:rPr>
              <a:t>.</a:t>
            </a: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pt-BR" sz="2000" b="0" dirty="0">
              <a:latin typeface="Petrobras Sans"/>
            </a:endParaRPr>
          </a:p>
          <a:p>
            <a:pPr>
              <a:defRPr/>
            </a:pPr>
            <a:r>
              <a:rPr lang="pt-BR" sz="2000" b="0" dirty="0">
                <a:latin typeface="Petrobras Sans"/>
              </a:rPr>
              <a:t> </a:t>
            </a:r>
            <a:endParaRPr lang="pt-BR" sz="2000" dirty="0">
              <a:latin typeface="Petrobras Sans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pt-BR" sz="2000" dirty="0">
              <a:latin typeface="Petrobras Sans"/>
            </a:endParaRPr>
          </a:p>
          <a:p>
            <a:pPr algn="just">
              <a:defRPr/>
            </a:pPr>
            <a:endParaRPr lang="pt-BR" sz="2000" dirty="0">
              <a:latin typeface="Petrobras Sans"/>
            </a:endParaRPr>
          </a:p>
          <a:p>
            <a:pPr algn="just">
              <a:defRPr/>
            </a:pPr>
            <a:endParaRPr lang="pt-BR" sz="2000" b="0" dirty="0">
              <a:latin typeface="Petrobras Sans"/>
            </a:endParaRPr>
          </a:p>
          <a:p>
            <a:pPr marL="800100" lvl="1" indent="-342900" algn="just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pt-BR" sz="2000" dirty="0">
              <a:solidFill>
                <a:srgbClr val="004165"/>
              </a:solidFill>
              <a:latin typeface="Petrobras Sans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9B56B6D0-20E2-5C96-CCB8-379F0A6E25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685" y="421955"/>
            <a:ext cx="6334186" cy="1624701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79A43A95-3D45-480C-24EB-C5DCC60E36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867" y="2398327"/>
            <a:ext cx="5294015" cy="1466946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988C2068-3564-7382-6076-A02903EBF1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56879" y="175406"/>
            <a:ext cx="2311077" cy="2644055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8A84B7DF-8766-CC6E-AAD3-7C7A726F9E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0341" y="2931368"/>
            <a:ext cx="5057615" cy="3568044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2BE4368D-A7A7-7178-BC3A-8720823BE0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0158" y="4289911"/>
            <a:ext cx="3539596" cy="2036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0738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D752997-F1D3-1EF9-6889-2CD7D9B6C9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014BAF80-7871-70FA-46A2-E7AE9CE63D70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E02ED7AD-ED16-DE79-1EE7-2F86379915E9}"/>
              </a:ext>
            </a:extLst>
          </p:cNvPr>
          <p:cNvSpPr/>
          <p:nvPr/>
        </p:nvSpPr>
        <p:spPr>
          <a:xfrm>
            <a:off x="-1" y="266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 dirty="0">
              <a:solidFill>
                <a:srgbClr val="FDC82F"/>
              </a:solidFill>
              <a:latin typeface="Trebuchet MS" panose="020B0603020202020204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F8642D27-D60A-37B7-026F-EF11F2E994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028" y="578783"/>
            <a:ext cx="6620477" cy="1381354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CA12360D-AA7D-8E9E-F7A7-D753F0BF2A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313" y="2384908"/>
            <a:ext cx="6975086" cy="3383437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180F440D-1971-5325-7087-47CA935ADB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63937" y="248124"/>
            <a:ext cx="3199020" cy="1491162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400E0670-056E-6835-3853-91227D0D81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63937" y="1941275"/>
            <a:ext cx="3105428" cy="2135351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412C0DBA-FAFF-A5FD-D3EB-BAA9E0C449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51649" y="4278615"/>
            <a:ext cx="3280193" cy="2160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8747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A51FDFA-88C4-A4A4-73D4-0A181F6578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65D06D02-5093-E964-4229-AA367E5B071E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5CB0ED31-8D9A-72CA-3707-7D6E4BA25981}"/>
              </a:ext>
            </a:extLst>
          </p:cNvPr>
          <p:cNvSpPr/>
          <p:nvPr/>
        </p:nvSpPr>
        <p:spPr>
          <a:xfrm>
            <a:off x="1" y="134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 dirty="0">
              <a:solidFill>
                <a:srgbClr val="FDC82F"/>
              </a:solidFill>
              <a:latin typeface="Trebuchet MS" panose="020B0603020202020204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8C0D3F74-8896-D45A-8113-F805806758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100" y="397827"/>
            <a:ext cx="7077826" cy="1354156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DA8F3BAE-5930-A373-6B0E-D506E3A464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2100" y="2176622"/>
            <a:ext cx="7664365" cy="1584835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C592C994-AECB-E12F-2017-54BEC510FA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287" y="4218178"/>
            <a:ext cx="7371990" cy="2182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1373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759F326-7984-575C-B995-927EEE2311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E69B62B6-F969-B815-65D4-9EECF44A2202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8923F66A-18AF-E11D-F403-1CE86B8475E4}"/>
              </a:ext>
            </a:extLst>
          </p:cNvPr>
          <p:cNvSpPr/>
          <p:nvPr/>
        </p:nvSpPr>
        <p:spPr>
          <a:xfrm>
            <a:off x="-1" y="133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559C3ED1-7745-A2C9-DE2C-911A60C163F4}"/>
              </a:ext>
            </a:extLst>
          </p:cNvPr>
          <p:cNvSpPr txBox="1">
            <a:spLocks/>
          </p:cNvSpPr>
          <p:nvPr/>
        </p:nvSpPr>
        <p:spPr>
          <a:xfrm>
            <a:off x="468867" y="593680"/>
            <a:ext cx="10925964" cy="59057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004165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pt-BR" sz="200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r>
              <a:rPr lang="pt-BR" sz="2000" b="0" dirty="0">
                <a:latin typeface="Petrobras Sans"/>
              </a:rPr>
              <a:t>Posso continuar nessa linha de pesquisa?</a:t>
            </a: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r>
              <a:rPr lang="pt-BR" sz="2000" b="0" dirty="0">
                <a:latin typeface="Petrobras Sans"/>
              </a:rPr>
              <a:t>Estou fazendo o curso de DL Python (Curso de extensão – ICA).</a:t>
            </a: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r>
              <a:rPr lang="pt-BR" sz="2000" b="0" dirty="0">
                <a:latin typeface="Petrobras Sans"/>
              </a:rPr>
              <a:t>Após conseguir implementar uma RN com alguma técnica de otimização, tentar adicionar VOI.</a:t>
            </a: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r>
              <a:rPr lang="pt-BR" sz="2000" b="0" dirty="0">
                <a:latin typeface="Petrobras Sans"/>
              </a:rPr>
              <a:t>...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pt-BR" sz="2000" b="0" dirty="0">
              <a:latin typeface="Petrobras Sans"/>
            </a:endParaRPr>
          </a:p>
          <a:p>
            <a:pPr>
              <a:defRPr/>
            </a:pPr>
            <a:r>
              <a:rPr lang="pt-BR" sz="2000" b="0" dirty="0">
                <a:latin typeface="Petrobras Sans"/>
              </a:rPr>
              <a:t> </a:t>
            </a:r>
            <a:endParaRPr lang="pt-BR" sz="2000" dirty="0">
              <a:latin typeface="Petrobras Sans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pt-BR" sz="2000" dirty="0">
              <a:latin typeface="Petrobras Sans"/>
            </a:endParaRPr>
          </a:p>
          <a:p>
            <a:pPr algn="just">
              <a:defRPr/>
            </a:pPr>
            <a:endParaRPr lang="pt-BR" sz="2000" dirty="0">
              <a:latin typeface="Petrobras Sans"/>
            </a:endParaRPr>
          </a:p>
          <a:p>
            <a:pPr algn="just">
              <a:defRPr/>
            </a:pPr>
            <a:endParaRPr lang="pt-BR" sz="2000" b="0" dirty="0">
              <a:latin typeface="Petrobras Sans"/>
            </a:endParaRPr>
          </a:p>
          <a:p>
            <a:pPr marL="800100" lvl="1" indent="-342900" algn="just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pt-BR" sz="2000" dirty="0">
              <a:solidFill>
                <a:srgbClr val="004165"/>
              </a:solidFill>
              <a:latin typeface="Petrobras Sans"/>
            </a:endParaRPr>
          </a:p>
        </p:txBody>
      </p:sp>
    </p:spTree>
    <p:extLst>
      <p:ext uri="{BB962C8B-B14F-4D97-AF65-F5344CB8AC3E}">
        <p14:creationId xmlns:p14="http://schemas.microsoft.com/office/powerpoint/2010/main" val="28186128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867028D-36D9-A9BD-010D-CFB4F64D89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50E1BDC3-8784-8C7E-CE74-72FEC310CE3E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77174BB5-570F-38F7-25CA-ADF41219941B}"/>
              </a:ext>
            </a:extLst>
          </p:cNvPr>
          <p:cNvSpPr/>
          <p:nvPr/>
        </p:nvSpPr>
        <p:spPr>
          <a:xfrm>
            <a:off x="1" y="134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 dirty="0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0048E25-536A-988E-1C76-B8E403799500}"/>
              </a:ext>
            </a:extLst>
          </p:cNvPr>
          <p:cNvSpPr txBox="1"/>
          <p:nvPr/>
        </p:nvSpPr>
        <p:spPr>
          <a:xfrm>
            <a:off x="1471120" y="2549240"/>
            <a:ext cx="868455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12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DC82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—</a:t>
            </a:r>
          </a:p>
          <a:p>
            <a:pPr marL="0" lvl="1" algn="ctr" defTabSz="1218824">
              <a:defRPr/>
            </a:pPr>
            <a:r>
              <a:rPr lang="pt-BR" sz="3200" b="1" kern="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Obrigado pela atenção!</a:t>
            </a:r>
          </a:p>
        </p:txBody>
      </p:sp>
    </p:spTree>
    <p:extLst>
      <p:ext uri="{BB962C8B-B14F-4D97-AF65-F5344CB8AC3E}">
        <p14:creationId xmlns:p14="http://schemas.microsoft.com/office/powerpoint/2010/main" val="3798067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5E0FD6-54B6-1675-1131-07224DA08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35737D56-6111-049F-394F-8DDDBF16B59E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8490C698-DCE6-2802-9034-24A6EA61ED0E}"/>
              </a:ext>
            </a:extLst>
          </p:cNvPr>
          <p:cNvSpPr/>
          <p:nvPr/>
        </p:nvSpPr>
        <p:spPr>
          <a:xfrm>
            <a:off x="1" y="134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 dirty="0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B635C418-994D-4B18-8069-8F39A6518033}"/>
              </a:ext>
            </a:extLst>
          </p:cNvPr>
          <p:cNvSpPr/>
          <p:nvPr/>
        </p:nvSpPr>
        <p:spPr>
          <a:xfrm>
            <a:off x="2274548" y="1058600"/>
            <a:ext cx="2383547" cy="924579"/>
          </a:xfrm>
          <a:prstGeom prst="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4B3C1A5-B076-5E8F-FA96-549FFB372971}"/>
              </a:ext>
            </a:extLst>
          </p:cNvPr>
          <p:cNvSpPr txBox="1"/>
          <p:nvPr/>
        </p:nvSpPr>
        <p:spPr>
          <a:xfrm>
            <a:off x="2391748" y="1133872"/>
            <a:ext cx="211494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 defTabSz="1218824">
              <a:defRPr/>
            </a:pPr>
            <a:r>
              <a:rPr lang="pt-BR" sz="1600" b="1" kern="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Reservoir model</a:t>
            </a:r>
          </a:p>
          <a:p>
            <a:pPr marL="0" lvl="1" algn="ctr" defTabSz="1218824">
              <a:defRPr/>
            </a:pPr>
            <a:r>
              <a:rPr lang="pt-BR" sz="1400" kern="0" dirty="0">
                <a:solidFill>
                  <a:srgbClr val="FF0000"/>
                </a:solidFill>
                <a:latin typeface="+mj-lt"/>
              </a:rPr>
              <a:t>Realizations of the </a:t>
            </a:r>
          </a:p>
          <a:p>
            <a:pPr marL="0" lvl="1" algn="ctr" defTabSz="1218824">
              <a:defRPr/>
            </a:pPr>
            <a:r>
              <a:rPr lang="pt-BR" sz="1400" kern="0" dirty="0">
                <a:solidFill>
                  <a:srgbClr val="FF0000"/>
                </a:solidFill>
                <a:latin typeface="+mj-lt"/>
              </a:rPr>
              <a:t>reservoir uncertainty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FA29BD07-21D8-990B-F710-E962BFFE9876}"/>
              </a:ext>
            </a:extLst>
          </p:cNvPr>
          <p:cNvSpPr/>
          <p:nvPr/>
        </p:nvSpPr>
        <p:spPr>
          <a:xfrm>
            <a:off x="2268332" y="2728150"/>
            <a:ext cx="2383547" cy="764115"/>
          </a:xfrm>
          <a:prstGeom prst="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D3ED1C22-6AFE-446A-F067-CF72A7796AA7}"/>
              </a:ext>
            </a:extLst>
          </p:cNvPr>
          <p:cNvSpPr txBox="1"/>
          <p:nvPr/>
        </p:nvSpPr>
        <p:spPr>
          <a:xfrm>
            <a:off x="2385532" y="2807169"/>
            <a:ext cx="211494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 defTabSz="1218824">
              <a:defRPr/>
            </a:pPr>
            <a:r>
              <a:rPr lang="pt-BR" sz="1600" b="1" kern="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Production level</a:t>
            </a:r>
          </a:p>
          <a:p>
            <a:pPr marL="0" lvl="1" algn="ctr" defTabSz="1218824">
              <a:defRPr/>
            </a:pPr>
            <a:r>
              <a:rPr lang="pt-BR" sz="1400" kern="0" dirty="0">
                <a:solidFill>
                  <a:srgbClr val="FF0000"/>
                </a:solidFill>
                <a:latin typeface="+mj-lt"/>
              </a:rPr>
              <a:t>Oil production</a:t>
            </a:r>
          </a:p>
        </p:txBody>
      </p:sp>
      <p:sp>
        <p:nvSpPr>
          <p:cNvPr id="10" name="Seta: para Baixo 9">
            <a:extLst>
              <a:ext uri="{FF2B5EF4-FFF2-40B4-BE49-F238E27FC236}">
                <a16:creationId xmlns:a16="http://schemas.microsoft.com/office/drawing/2014/main" id="{7A64A848-158D-3E66-EF92-BB8B15F2EF70}"/>
              </a:ext>
            </a:extLst>
          </p:cNvPr>
          <p:cNvSpPr/>
          <p:nvPr/>
        </p:nvSpPr>
        <p:spPr>
          <a:xfrm>
            <a:off x="3323471" y="2110725"/>
            <a:ext cx="239049" cy="469685"/>
          </a:xfrm>
          <a:prstGeom prst="downArrow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C4A935FD-3162-F5D9-3F5B-90CB77E50DF5}"/>
              </a:ext>
            </a:extLst>
          </p:cNvPr>
          <p:cNvSpPr/>
          <p:nvPr/>
        </p:nvSpPr>
        <p:spPr>
          <a:xfrm>
            <a:off x="5387859" y="1135720"/>
            <a:ext cx="2383547" cy="764115"/>
          </a:xfrm>
          <a:prstGeom prst="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5EA69D6F-9AB7-D407-D342-4E85EE805128}"/>
              </a:ext>
            </a:extLst>
          </p:cNvPr>
          <p:cNvSpPr txBox="1"/>
          <p:nvPr/>
        </p:nvSpPr>
        <p:spPr>
          <a:xfrm>
            <a:off x="5505059" y="1242732"/>
            <a:ext cx="211494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 defTabSz="1218824">
              <a:defRPr/>
            </a:pPr>
            <a:r>
              <a:rPr lang="pt-BR" sz="1600" b="1" kern="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Cost estimation</a:t>
            </a:r>
          </a:p>
          <a:p>
            <a:pPr marL="0" lvl="1" algn="ctr" defTabSz="1218824">
              <a:defRPr/>
            </a:pPr>
            <a:r>
              <a:rPr lang="pt-BR" sz="1400" kern="0" dirty="0">
                <a:solidFill>
                  <a:srgbClr val="FF0000"/>
                </a:solidFill>
                <a:latin typeface="+mj-lt"/>
              </a:rPr>
              <a:t>Variable Op Cost paths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A1DB1931-0A46-6BFB-7D6E-B00F8FA33B8E}"/>
              </a:ext>
            </a:extLst>
          </p:cNvPr>
          <p:cNvSpPr/>
          <p:nvPr/>
        </p:nvSpPr>
        <p:spPr>
          <a:xfrm>
            <a:off x="5381221" y="2647664"/>
            <a:ext cx="2383547" cy="924579"/>
          </a:xfrm>
          <a:prstGeom prst="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C0B24CF1-E1E2-56FB-B5FA-B30C6A3C9149}"/>
              </a:ext>
            </a:extLst>
          </p:cNvPr>
          <p:cNvSpPr txBox="1"/>
          <p:nvPr/>
        </p:nvSpPr>
        <p:spPr>
          <a:xfrm>
            <a:off x="5498421" y="2722936"/>
            <a:ext cx="211494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 defTabSz="1218824">
              <a:defRPr/>
            </a:pPr>
            <a:r>
              <a:rPr lang="pt-BR" sz="1600" b="1" kern="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Cash Flow Modelling</a:t>
            </a:r>
          </a:p>
          <a:p>
            <a:pPr marL="0" lvl="1" algn="ctr" defTabSz="1218824">
              <a:defRPr/>
            </a:pPr>
            <a:r>
              <a:rPr lang="pt-BR" sz="1400" kern="0" dirty="0">
                <a:solidFill>
                  <a:srgbClr val="FF0000"/>
                </a:solidFill>
                <a:latin typeface="+mj-lt"/>
              </a:rPr>
              <a:t>Simulated Project </a:t>
            </a:r>
          </a:p>
          <a:p>
            <a:pPr marL="0" lvl="1" algn="ctr" defTabSz="1218824">
              <a:defRPr/>
            </a:pPr>
            <a:r>
              <a:rPr lang="pt-BR" sz="1400" kern="0" dirty="0">
                <a:solidFill>
                  <a:srgbClr val="FF0000"/>
                </a:solidFill>
                <a:latin typeface="+mj-lt"/>
              </a:rPr>
              <a:t>cash flows</a:t>
            </a: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E3DA9F46-F2E5-D6EB-312B-D2801DB109F7}"/>
              </a:ext>
            </a:extLst>
          </p:cNvPr>
          <p:cNvSpPr/>
          <p:nvPr/>
        </p:nvSpPr>
        <p:spPr>
          <a:xfrm>
            <a:off x="8481760" y="2725675"/>
            <a:ext cx="2383547" cy="764115"/>
          </a:xfrm>
          <a:prstGeom prst="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41C23ECA-74C1-0F6C-85DF-12DFEE46C871}"/>
              </a:ext>
            </a:extLst>
          </p:cNvPr>
          <p:cNvSpPr txBox="1"/>
          <p:nvPr/>
        </p:nvSpPr>
        <p:spPr>
          <a:xfrm>
            <a:off x="8617622" y="2823356"/>
            <a:ext cx="211494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 defTabSz="1218824">
              <a:defRPr/>
            </a:pPr>
            <a:r>
              <a:rPr lang="pt-BR" sz="1600" b="1" kern="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Oil price projection</a:t>
            </a:r>
          </a:p>
          <a:p>
            <a:pPr marL="0" lvl="1" algn="ctr" defTabSz="1218824">
              <a:defRPr/>
            </a:pPr>
            <a:r>
              <a:rPr lang="pt-BR" sz="1400" kern="0" dirty="0">
                <a:solidFill>
                  <a:srgbClr val="FF0000"/>
                </a:solidFill>
                <a:latin typeface="+mj-lt"/>
              </a:rPr>
              <a:t>Future oil price paths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51E35C80-4BBF-F328-CE9B-83C76CB74C5E}"/>
              </a:ext>
            </a:extLst>
          </p:cNvPr>
          <p:cNvSpPr/>
          <p:nvPr/>
        </p:nvSpPr>
        <p:spPr>
          <a:xfrm>
            <a:off x="5384751" y="4231364"/>
            <a:ext cx="2383547" cy="631500"/>
          </a:xfrm>
          <a:prstGeom prst="rect">
            <a:avLst/>
          </a:prstGeom>
          <a:solidFill>
            <a:schemeClr val="bg2"/>
          </a:solidFill>
          <a:ln w="3810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B7DFD211-EB5D-1E6F-20CE-4FF4B35F8AA5}"/>
              </a:ext>
            </a:extLst>
          </p:cNvPr>
          <p:cNvSpPr txBox="1"/>
          <p:nvPr/>
        </p:nvSpPr>
        <p:spPr>
          <a:xfrm>
            <a:off x="5501951" y="4356044"/>
            <a:ext cx="2114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 defTabSz="1218824">
              <a:defRPr/>
            </a:pPr>
            <a:r>
              <a:rPr lang="pt-BR" b="1" kern="0" dirty="0">
                <a:solidFill>
                  <a:schemeClr val="tx2"/>
                </a:solidFill>
                <a:latin typeface="+mj-lt"/>
              </a:rPr>
              <a:t>Project valuation</a:t>
            </a:r>
          </a:p>
        </p:txBody>
      </p:sp>
      <p:sp>
        <p:nvSpPr>
          <p:cNvPr id="21" name="Seta: para Baixo 20">
            <a:extLst>
              <a:ext uri="{FF2B5EF4-FFF2-40B4-BE49-F238E27FC236}">
                <a16:creationId xmlns:a16="http://schemas.microsoft.com/office/drawing/2014/main" id="{EE28ACDB-3235-3341-2A88-4E1CB2002DA8}"/>
              </a:ext>
            </a:extLst>
          </p:cNvPr>
          <p:cNvSpPr/>
          <p:nvPr/>
        </p:nvSpPr>
        <p:spPr>
          <a:xfrm rot="13095884">
            <a:off x="4912986" y="1972244"/>
            <a:ext cx="239049" cy="702542"/>
          </a:xfrm>
          <a:prstGeom prst="downArrow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Seta: para Baixo 21">
            <a:extLst>
              <a:ext uri="{FF2B5EF4-FFF2-40B4-BE49-F238E27FC236}">
                <a16:creationId xmlns:a16="http://schemas.microsoft.com/office/drawing/2014/main" id="{728816BC-BBC3-23D4-CF8E-A5C9EDB00A0D}"/>
              </a:ext>
            </a:extLst>
          </p:cNvPr>
          <p:cNvSpPr/>
          <p:nvPr/>
        </p:nvSpPr>
        <p:spPr>
          <a:xfrm rot="16200000">
            <a:off x="4903806" y="2875186"/>
            <a:ext cx="239049" cy="469685"/>
          </a:xfrm>
          <a:prstGeom prst="downArrow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Seta: para Baixo 22">
            <a:extLst>
              <a:ext uri="{FF2B5EF4-FFF2-40B4-BE49-F238E27FC236}">
                <a16:creationId xmlns:a16="http://schemas.microsoft.com/office/drawing/2014/main" id="{5CB99EF6-44AA-A65D-D75D-395E3B6C853A}"/>
              </a:ext>
            </a:extLst>
          </p:cNvPr>
          <p:cNvSpPr/>
          <p:nvPr/>
        </p:nvSpPr>
        <p:spPr>
          <a:xfrm>
            <a:off x="6460107" y="2074874"/>
            <a:ext cx="239049" cy="469685"/>
          </a:xfrm>
          <a:prstGeom prst="downArrow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Seta: para Baixo 24">
            <a:extLst>
              <a:ext uri="{FF2B5EF4-FFF2-40B4-BE49-F238E27FC236}">
                <a16:creationId xmlns:a16="http://schemas.microsoft.com/office/drawing/2014/main" id="{639866A2-FEF2-720E-7F29-28678BB25DC2}"/>
              </a:ext>
            </a:extLst>
          </p:cNvPr>
          <p:cNvSpPr/>
          <p:nvPr/>
        </p:nvSpPr>
        <p:spPr>
          <a:xfrm rot="5400000">
            <a:off x="8003739" y="2875186"/>
            <a:ext cx="239049" cy="469685"/>
          </a:xfrm>
          <a:prstGeom prst="downArrow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Seta: para Baixo 25">
            <a:extLst>
              <a:ext uri="{FF2B5EF4-FFF2-40B4-BE49-F238E27FC236}">
                <a16:creationId xmlns:a16="http://schemas.microsoft.com/office/drawing/2014/main" id="{9CFE184D-25A6-0C56-72DD-4A17C5D52063}"/>
              </a:ext>
            </a:extLst>
          </p:cNvPr>
          <p:cNvSpPr/>
          <p:nvPr/>
        </p:nvSpPr>
        <p:spPr>
          <a:xfrm rot="8423059">
            <a:off x="8032986" y="1958446"/>
            <a:ext cx="239049" cy="702542"/>
          </a:xfrm>
          <a:prstGeom prst="downArrow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Seta: para Baixo 26">
            <a:extLst>
              <a:ext uri="{FF2B5EF4-FFF2-40B4-BE49-F238E27FC236}">
                <a16:creationId xmlns:a16="http://schemas.microsoft.com/office/drawing/2014/main" id="{BA13BAF4-30DB-EA99-D433-3445296614AC}"/>
              </a:ext>
            </a:extLst>
          </p:cNvPr>
          <p:cNvSpPr/>
          <p:nvPr/>
        </p:nvSpPr>
        <p:spPr>
          <a:xfrm>
            <a:off x="6443004" y="3673593"/>
            <a:ext cx="239049" cy="469685"/>
          </a:xfrm>
          <a:prstGeom prst="downArrow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971443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8BA4403-4DC4-1E44-D3E6-515209F071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307CC5B9-99B5-E8A7-2C4A-2FC7592E0BE8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A8152F8F-3B0C-64A4-9EB9-2C0F53FBEEB3}"/>
              </a:ext>
            </a:extLst>
          </p:cNvPr>
          <p:cNvSpPr/>
          <p:nvPr/>
        </p:nvSpPr>
        <p:spPr>
          <a:xfrm>
            <a:off x="1" y="134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 dirty="0">
              <a:solidFill>
                <a:srgbClr val="FDC82F"/>
              </a:solidFill>
              <a:latin typeface="Trebuchet MS" panose="020B0603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6238744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39AACF5-6717-B788-70A5-39D43459BD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F52EE2C4-8E25-DBC5-76AB-01BA99415F5F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CD1DCBC1-CE78-1B71-2AED-B6B7B404F7BA}"/>
              </a:ext>
            </a:extLst>
          </p:cNvPr>
          <p:cNvSpPr/>
          <p:nvPr/>
        </p:nvSpPr>
        <p:spPr>
          <a:xfrm>
            <a:off x="1" y="134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E6F4EC3E-00FA-5343-C081-CD54E18C8A2B}"/>
              </a:ext>
            </a:extLst>
          </p:cNvPr>
          <p:cNvSpPr txBox="1">
            <a:spLocks/>
          </p:cNvSpPr>
          <p:nvPr/>
        </p:nvSpPr>
        <p:spPr>
          <a:xfrm>
            <a:off x="468867" y="593680"/>
            <a:ext cx="10690545" cy="59057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004165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pt-BR" sz="200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r>
              <a:rPr lang="pt-BR" sz="2000" dirty="0">
                <a:latin typeface="Petrobras Sans"/>
              </a:rPr>
              <a:t>Resumo intercâmbio na </a:t>
            </a:r>
            <a:r>
              <a:rPr lang="pt-BR" sz="2000" dirty="0" err="1">
                <a:latin typeface="Petrobras Sans"/>
              </a:rPr>
              <a:t>Stavanger</a:t>
            </a:r>
            <a:r>
              <a:rPr lang="pt-BR" sz="2000" dirty="0">
                <a:latin typeface="Petrobras Sans"/>
              </a:rPr>
              <a:t> of </a:t>
            </a:r>
            <a:r>
              <a:rPr lang="pt-BR" sz="2000" dirty="0" err="1">
                <a:latin typeface="Petrobras Sans"/>
              </a:rPr>
              <a:t>University</a:t>
            </a:r>
            <a:r>
              <a:rPr lang="pt-BR" sz="2000" b="0" dirty="0">
                <a:latin typeface="Petrobras Sans"/>
              </a:rPr>
              <a:t>.</a:t>
            </a:r>
            <a:r>
              <a:rPr lang="pt-BR" sz="2000" dirty="0">
                <a:latin typeface="Petrobras Sans"/>
              </a:rPr>
              <a:t> </a:t>
            </a:r>
          </a:p>
          <a:p>
            <a:pPr marL="342900" indent="-342900" algn="just">
              <a:buFont typeface="Wingdings" panose="05000000000000000000" pitchFamily="2" charset="2"/>
              <a:buChar char="ü"/>
              <a:defRPr/>
            </a:pPr>
            <a:endParaRPr lang="pt-BR" sz="2000" dirty="0">
              <a:latin typeface="Petrobras Sans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  <a:defRPr/>
            </a:pPr>
            <a:endParaRPr lang="pt-BR" sz="200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r>
              <a:rPr lang="pt-BR" sz="2000" dirty="0" err="1">
                <a:latin typeface="Petrobras Sans"/>
              </a:rPr>
              <a:t>Paper</a:t>
            </a:r>
            <a:r>
              <a:rPr lang="pt-BR" sz="2000" dirty="0">
                <a:latin typeface="Petrobras Sans"/>
              </a:rPr>
              <a:t> com </a:t>
            </a:r>
            <a:r>
              <a:rPr lang="pt-BR" sz="2000" dirty="0" err="1">
                <a:latin typeface="Petrobras Sans"/>
              </a:rPr>
              <a:t>Bratvold</a:t>
            </a:r>
            <a:r>
              <a:rPr lang="pt-BR" sz="2000" b="0" dirty="0">
                <a:latin typeface="Petrobras Sans"/>
              </a:rPr>
              <a:t>.</a:t>
            </a: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r>
              <a:rPr lang="pt-BR" sz="2000" dirty="0" err="1">
                <a:latin typeface="Petrobras Sans"/>
              </a:rPr>
              <a:t>Paper</a:t>
            </a:r>
            <a:r>
              <a:rPr lang="pt-BR" sz="2000" dirty="0">
                <a:latin typeface="Petrobras Sans"/>
              </a:rPr>
              <a:t> ROC (2024).</a:t>
            </a: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r>
              <a:rPr lang="pt-BR" sz="2000" dirty="0">
                <a:latin typeface="Petrobras Sans"/>
              </a:rPr>
              <a:t>Proposta de projeto de tese</a:t>
            </a:r>
            <a:r>
              <a:rPr lang="pt-BR" sz="2000" b="0" dirty="0">
                <a:latin typeface="Petrobras Sans"/>
              </a:rPr>
              <a:t>.</a:t>
            </a:r>
          </a:p>
          <a:p>
            <a:pPr>
              <a:defRPr/>
            </a:pPr>
            <a:r>
              <a:rPr lang="pt-BR" sz="2000" b="0" dirty="0">
                <a:latin typeface="Petrobras Sans"/>
              </a:rPr>
              <a:t> </a:t>
            </a:r>
            <a:endParaRPr lang="pt-BR" sz="2000" dirty="0">
              <a:latin typeface="Petrobras Sans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pt-BR" sz="2000" dirty="0">
              <a:latin typeface="Petrobras Sans"/>
            </a:endParaRPr>
          </a:p>
          <a:p>
            <a:pPr algn="just">
              <a:defRPr/>
            </a:pPr>
            <a:endParaRPr lang="pt-BR" sz="2000" dirty="0">
              <a:latin typeface="Petrobras Sans"/>
            </a:endParaRPr>
          </a:p>
          <a:p>
            <a:pPr algn="just">
              <a:defRPr/>
            </a:pPr>
            <a:endParaRPr lang="pt-BR" sz="2000" b="0" dirty="0">
              <a:latin typeface="Petrobras Sans"/>
            </a:endParaRPr>
          </a:p>
          <a:p>
            <a:pPr marL="800100" lvl="1" indent="-342900" algn="just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pt-BR" sz="2000" dirty="0">
              <a:solidFill>
                <a:srgbClr val="004165"/>
              </a:solidFill>
              <a:latin typeface="Petrobras Sans"/>
            </a:endParaRPr>
          </a:p>
        </p:txBody>
      </p:sp>
    </p:spTree>
    <p:extLst>
      <p:ext uri="{BB962C8B-B14F-4D97-AF65-F5344CB8AC3E}">
        <p14:creationId xmlns:p14="http://schemas.microsoft.com/office/powerpoint/2010/main" val="24290222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0A02AB4-0111-4882-8A87-C4D7C63D03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877E0257-2FB7-4E26-CA87-01A2D8FFE390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4C2A3921-EEDA-A11F-55B2-03FA987DAA40}"/>
              </a:ext>
            </a:extLst>
          </p:cNvPr>
          <p:cNvSpPr/>
          <p:nvPr/>
        </p:nvSpPr>
        <p:spPr>
          <a:xfrm>
            <a:off x="-1" y="133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9CCB6DE4-74E5-39CD-4F5E-264BE3B6B281}"/>
              </a:ext>
            </a:extLst>
          </p:cNvPr>
          <p:cNvSpPr txBox="1">
            <a:spLocks/>
          </p:cNvSpPr>
          <p:nvPr/>
        </p:nvSpPr>
        <p:spPr>
          <a:xfrm>
            <a:off x="468867" y="593680"/>
            <a:ext cx="10925964" cy="59057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004165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pt-BR" sz="200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r>
              <a:rPr lang="pt-BR" sz="2000" dirty="0" err="1">
                <a:latin typeface="Petrobras Sans"/>
              </a:rPr>
              <a:t>Stavanger</a:t>
            </a:r>
            <a:r>
              <a:rPr lang="pt-BR" sz="2000" dirty="0">
                <a:latin typeface="Petrobras Sans"/>
              </a:rPr>
              <a:t> </a:t>
            </a: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endParaRPr lang="pt-BR" sz="2000" b="0" dirty="0">
              <a:latin typeface="Petrobras Sans"/>
            </a:endParaRPr>
          </a:p>
          <a:p>
            <a:pPr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pt-BR" sz="2000" b="0" dirty="0">
              <a:latin typeface="Petrobras Sans"/>
            </a:endParaRPr>
          </a:p>
          <a:p>
            <a:pPr>
              <a:defRPr/>
            </a:pPr>
            <a:r>
              <a:rPr lang="pt-BR" sz="2000" b="0" dirty="0">
                <a:latin typeface="Petrobras Sans"/>
              </a:rPr>
              <a:t> </a:t>
            </a:r>
            <a:endParaRPr lang="pt-BR" sz="2000" dirty="0">
              <a:latin typeface="Petrobras Sans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pt-BR" sz="2000" dirty="0">
              <a:latin typeface="Petrobras Sans"/>
            </a:endParaRPr>
          </a:p>
          <a:p>
            <a:pPr algn="just">
              <a:defRPr/>
            </a:pPr>
            <a:endParaRPr lang="pt-BR" sz="2000" dirty="0">
              <a:latin typeface="Petrobras Sans"/>
            </a:endParaRPr>
          </a:p>
          <a:p>
            <a:pPr algn="just">
              <a:defRPr/>
            </a:pPr>
            <a:endParaRPr lang="pt-BR" sz="2000" b="0" dirty="0">
              <a:latin typeface="Petrobras Sans"/>
            </a:endParaRPr>
          </a:p>
          <a:p>
            <a:pPr marL="800100" lvl="1" indent="-342900" algn="just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pt-BR" sz="2000" dirty="0">
              <a:solidFill>
                <a:srgbClr val="004165"/>
              </a:solidFill>
              <a:latin typeface="Petrobras Sans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7576A2F1-286D-0ED5-EC81-C1D251BACD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9552" y="5273677"/>
            <a:ext cx="2841899" cy="1343239"/>
          </a:xfrm>
          <a:prstGeom prst="rect">
            <a:avLst/>
          </a:prstGeom>
        </p:spPr>
      </p:pic>
      <p:sp>
        <p:nvSpPr>
          <p:cNvPr id="7" name="AutoShape 6">
            <a:extLst>
              <a:ext uri="{FF2B5EF4-FFF2-40B4-BE49-F238E27FC236}">
                <a16:creationId xmlns:a16="http://schemas.microsoft.com/office/drawing/2014/main" id="{719330E4-24BB-ECB9-19AB-74FBD693EE3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1BD636CA-0DF9-D2E9-3DFA-FD1074E339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68768" y="2827204"/>
            <a:ext cx="2405707" cy="1138200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9FB42E72-217B-D39F-88DD-0361D18669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7259" y="5296569"/>
            <a:ext cx="2653337" cy="1255359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27B024F6-0AC7-2B98-D220-87CC7EC73E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0724" y="2813555"/>
            <a:ext cx="1353168" cy="2353802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1549A8C2-8411-C4B6-44AD-4A5C65CEEB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09350" y="1203519"/>
            <a:ext cx="2918668" cy="1513538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4E703AFC-83FE-657F-11FA-2910599CCF8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79943" y="235225"/>
            <a:ext cx="2656103" cy="1527323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225312F1-849A-BFDB-5349-D7D4E0394B1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7259" y="2823378"/>
            <a:ext cx="1778520" cy="2370628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FABE85EC-A82C-9BF8-AF9E-394E74AA832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83090" y="4038980"/>
            <a:ext cx="2405706" cy="1138200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BD258B18-18E7-3338-CB31-94148C9F2EA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79945" y="3503018"/>
            <a:ext cx="2656103" cy="1641750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FB33E5E0-57F9-40A1-B317-F2C070D131A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456244" y="5264335"/>
            <a:ext cx="2653335" cy="1363986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8A4513C2-58EE-DB40-EA0C-204782C004D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7259" y="1238223"/>
            <a:ext cx="4247215" cy="1513538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0E4CEEEF-D22D-D8A2-F127-75E7C67216A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499834" y="5264335"/>
            <a:ext cx="2777924" cy="1287593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3A5BB41D-4B75-C182-7CAA-1D2AB89D200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545820" y="2823378"/>
            <a:ext cx="1382197" cy="2343979"/>
          </a:xfrm>
          <a:prstGeom prst="rect">
            <a:avLst/>
          </a:prstGeom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id="{8AACF007-A426-A4ED-880F-9BCC4C475DA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079944" y="1880053"/>
            <a:ext cx="2656103" cy="149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9842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35303D3-C770-987B-9A34-F32F86B8E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D735ED7E-17CE-645E-34B7-B89646C265EE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15181F28-9A3B-8ABB-DC88-0394A5826302}"/>
              </a:ext>
            </a:extLst>
          </p:cNvPr>
          <p:cNvSpPr/>
          <p:nvPr/>
        </p:nvSpPr>
        <p:spPr>
          <a:xfrm>
            <a:off x="-1" y="133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ítulo 1">
                <a:extLst>
                  <a:ext uri="{FF2B5EF4-FFF2-40B4-BE49-F238E27FC236}">
                    <a16:creationId xmlns:a16="http://schemas.microsoft.com/office/drawing/2014/main" id="{71068A5E-21C3-2693-8BFA-5ED2EFD4FC2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8867" y="593680"/>
                <a:ext cx="10925964" cy="5905732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b="1" kern="1200">
                    <a:solidFill>
                      <a:srgbClr val="004165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marL="342900" indent="-342900" algn="just">
                  <a:buFont typeface="Arial" panose="020B0604020202020204" pitchFamily="34" charset="0"/>
                  <a:buChar char="•"/>
                  <a:defRPr/>
                </a:pPr>
                <a:endParaRPr lang="pt-BR" sz="2000" dirty="0">
                  <a:latin typeface="Petrobras Sans"/>
                </a:endParaRPr>
              </a:p>
              <a:p>
                <a:pPr marL="342900" indent="-342900">
                  <a:buFont typeface="Wingdings" panose="05000000000000000000" pitchFamily="2" charset="2"/>
                  <a:buChar char="ü"/>
                  <a:defRPr/>
                </a:pPr>
                <a:r>
                  <a:rPr lang="pt-BR" sz="2000" dirty="0">
                    <a:latin typeface="Petrobras Sans"/>
                  </a:rPr>
                  <a:t>Resumo intercâmbio na </a:t>
                </a:r>
                <a:r>
                  <a:rPr lang="pt-BR" sz="2000" dirty="0" err="1">
                    <a:latin typeface="Petrobras Sans"/>
                  </a:rPr>
                  <a:t>Stavanger</a:t>
                </a:r>
                <a:r>
                  <a:rPr lang="pt-BR" sz="2000" dirty="0">
                    <a:latin typeface="Petrobras Sans"/>
                  </a:rPr>
                  <a:t> of </a:t>
                </a:r>
                <a:r>
                  <a:rPr lang="pt-BR" sz="2000" dirty="0" err="1">
                    <a:latin typeface="Petrobras Sans"/>
                  </a:rPr>
                  <a:t>University</a:t>
                </a:r>
                <a:r>
                  <a:rPr lang="pt-BR" sz="2000" b="0" dirty="0">
                    <a:latin typeface="Petrobras Sans"/>
                  </a:rPr>
                  <a:t>.</a:t>
                </a:r>
                <a:r>
                  <a:rPr lang="pt-BR" sz="2000" dirty="0">
                    <a:latin typeface="Petrobras Sans"/>
                  </a:rPr>
                  <a:t> </a:t>
                </a:r>
              </a:p>
              <a:p>
                <a:pPr marL="342900" indent="-342900">
                  <a:buFont typeface="Wingdings" panose="05000000000000000000" pitchFamily="2" charset="2"/>
                  <a:buChar char="ü"/>
                  <a:defRPr/>
                </a:pPr>
                <a:endParaRPr lang="pt-BR" sz="2000" dirty="0">
                  <a:latin typeface="Petrobras Sans"/>
                </a:endParaRPr>
              </a:p>
              <a:p>
                <a:pPr marL="342900" indent="-342900" algn="just">
                  <a:buFont typeface="Arial" panose="020B0604020202020204" pitchFamily="34" charset="0"/>
                  <a:buChar char="•"/>
                  <a:defRPr/>
                </a:pPr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lang="pt-BR" sz="20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pt-BR" sz="2000" b="1" i="1" smtClean="0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Dedu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çã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o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da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rela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çã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o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matem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á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tica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entre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Imperfeita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e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Perfeita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Informa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çã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o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(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Bickel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).</m:t>
                            </m:r>
                          </m:e>
                          <m:e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Correla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çã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o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entre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RVOI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e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a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medida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de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aprendizagem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lang="pt-BR" sz="20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pt-BR" sz="2000" b="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𝜂</m:t>
                                </m:r>
                              </m:e>
                              <m:sub>
                                <m:r>
                                  <a:rPr lang="pt-BR" sz="2000" b="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(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Marco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Ant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ô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nio</m:t>
                            </m:r>
                            <m:r>
                              <m:rPr>
                                <m:nor/>
                              </m:rPr>
                              <a:rPr lang="pt-BR" sz="2000" b="0" dirty="0">
                                <a:latin typeface="Petrobras Sans"/>
                              </a:rPr>
                              <m:t>). </m:t>
                            </m:r>
                          </m:e>
                        </m:eqArr>
                      </m:e>
                    </m:d>
                  </m:oMath>
                </a14:m>
                <a:endParaRPr lang="pt-BR" sz="2000" dirty="0">
                  <a:latin typeface="Petrobras Sans"/>
                </a:endParaRPr>
              </a:p>
              <a:p>
                <a:pPr>
                  <a:defRPr/>
                </a:pPr>
                <a:endParaRPr lang="pt-BR" sz="2000" b="0" dirty="0">
                  <a:latin typeface="Petrobras Sans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  <a:defRPr/>
                </a:pPr>
                <a:r>
                  <a:rPr lang="pt-BR" sz="2000" b="0" dirty="0">
                    <a:latin typeface="Petrobras Sans"/>
                  </a:rPr>
                  <a:t>Implementação em </a:t>
                </a:r>
                <a:r>
                  <a:rPr lang="pt-BR" sz="2000" b="0" dirty="0" err="1">
                    <a:latin typeface="Petrobras Sans"/>
                  </a:rPr>
                  <a:t>python</a:t>
                </a:r>
                <a:r>
                  <a:rPr lang="pt-BR" sz="2000" b="0" dirty="0">
                    <a:latin typeface="Petrobras Sans"/>
                  </a:rPr>
                  <a:t> do modelo de preço de dois fatores (Schwartz e Smith).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  <a:defRPr/>
                </a:pPr>
                <a:endParaRPr lang="pt-BR" sz="2000" b="0" dirty="0">
                  <a:latin typeface="Petrobras Sans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  <a:defRPr/>
                </a:pPr>
                <a:r>
                  <a:rPr lang="pt-BR" sz="2000" b="0" dirty="0">
                    <a:latin typeface="Petrobras Sans"/>
                  </a:rPr>
                  <a:t>Implementação do algoritmo LSM (</a:t>
                </a:r>
                <a:r>
                  <a:rPr lang="pt-BR" sz="2000" b="0" dirty="0" err="1">
                    <a:latin typeface="Petrobras Sans"/>
                  </a:rPr>
                  <a:t>Least</a:t>
                </a:r>
                <a:r>
                  <a:rPr lang="pt-BR" sz="2000" b="0" dirty="0">
                    <a:latin typeface="Petrobras Sans"/>
                  </a:rPr>
                  <a:t> </a:t>
                </a:r>
                <a:r>
                  <a:rPr lang="pt-BR" sz="2000" b="0" dirty="0" err="1">
                    <a:latin typeface="Petrobras Sans"/>
                  </a:rPr>
                  <a:t>Squares</a:t>
                </a:r>
                <a:r>
                  <a:rPr lang="pt-BR" sz="2000" b="0" dirty="0">
                    <a:latin typeface="Petrobras Sans"/>
                  </a:rPr>
                  <a:t> Monte Carlo).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  <a:defRPr/>
                </a:pPr>
                <a:endParaRPr lang="pt-BR" sz="2000" b="0" dirty="0">
                  <a:latin typeface="Petrobras Sans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  <a:defRPr/>
                </a:pPr>
                <a:r>
                  <a:rPr lang="pt-BR" sz="2000" b="0" dirty="0">
                    <a:latin typeface="Petrobras Sans"/>
                  </a:rPr>
                  <a:t>Implementação e generalização do problema de Opções Reais - BDH (Brandão, Dyer, Hahn).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  <a:defRPr/>
                </a:pPr>
                <a:endParaRPr lang="pt-BR" sz="2000" b="0" dirty="0">
                  <a:latin typeface="Petrobras Sans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  <a:defRPr/>
                </a:pPr>
                <a:r>
                  <a:rPr lang="pt-BR" sz="2000" b="0" dirty="0" err="1">
                    <a:latin typeface="Petrobras Sans"/>
                  </a:rPr>
                  <a:t>Winter</a:t>
                </a:r>
                <a:r>
                  <a:rPr lang="pt-BR" sz="2000" b="0" dirty="0">
                    <a:latin typeface="Petrobras Sans"/>
                  </a:rPr>
                  <a:t> </a:t>
                </a:r>
                <a:r>
                  <a:rPr lang="pt-BR" sz="2000" b="0" dirty="0" err="1">
                    <a:latin typeface="Petrobras Sans"/>
                  </a:rPr>
                  <a:t>School</a:t>
                </a:r>
                <a:r>
                  <a:rPr lang="pt-BR" sz="2000" b="0" dirty="0">
                    <a:latin typeface="Petrobras Sans"/>
                  </a:rPr>
                  <a:t> </a:t>
                </a:r>
                <a:r>
                  <a:rPr lang="pt-BR" sz="2000" b="0" dirty="0" err="1">
                    <a:latin typeface="Petrobras Sans"/>
                  </a:rPr>
                  <a:t>Kvitfjell</a:t>
                </a:r>
                <a:r>
                  <a:rPr lang="pt-BR" sz="2000" b="0" dirty="0">
                    <a:latin typeface="Petrobras Sans"/>
                  </a:rPr>
                  <a:t>: cursos voltados para otimização no fornecimento de energia, descarbonização e incertezas do mercado. </a:t>
                </a:r>
                <a:r>
                  <a:rPr lang="pt-BR" sz="2000" dirty="0">
                    <a:latin typeface="Petrobras Sans"/>
                  </a:rPr>
                  <a:t>Programação Dinâmica Estocástica: equação de </a:t>
                </a:r>
                <a:r>
                  <a:rPr lang="pt-BR" sz="2000" dirty="0" err="1">
                    <a:latin typeface="Petrobras Sans"/>
                  </a:rPr>
                  <a:t>Bellman</a:t>
                </a:r>
                <a:r>
                  <a:rPr lang="pt-BR" sz="2000" b="0" dirty="0">
                    <a:latin typeface="Petrobras Sans"/>
                  </a:rPr>
                  <a:t>.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  <a:defRPr/>
                </a:pPr>
                <a:endParaRPr lang="pt-BR" sz="2000" b="0" dirty="0">
                  <a:latin typeface="Petrobras Sans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  <a:defRPr/>
                </a:pPr>
                <a:endParaRPr lang="pt-BR" sz="2000" b="0" dirty="0">
                  <a:latin typeface="Petrobras Sans"/>
                </a:endParaRPr>
              </a:p>
              <a:p>
                <a:pPr>
                  <a:defRPr/>
                </a:pPr>
                <a:r>
                  <a:rPr lang="pt-BR" sz="2000" b="0" dirty="0">
                    <a:latin typeface="Petrobras Sans"/>
                  </a:rPr>
                  <a:t> </a:t>
                </a:r>
                <a:endParaRPr lang="pt-BR" sz="2000" dirty="0">
                  <a:latin typeface="Petrobras Sans"/>
                </a:endParaRPr>
              </a:p>
              <a:p>
                <a:pPr marL="342900" indent="-342900" algn="just">
                  <a:buFont typeface="Arial" panose="020B0604020202020204" pitchFamily="34" charset="0"/>
                  <a:buChar char="•"/>
                  <a:defRPr/>
                </a:pPr>
                <a:endParaRPr lang="pt-BR" sz="200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200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2000" b="0" dirty="0">
                  <a:latin typeface="Petrobras Sans"/>
                </a:endParaRPr>
              </a:p>
              <a:p>
                <a:pPr marL="800100" lvl="1" indent="-342900" algn="just">
                  <a:lnSpc>
                    <a:spcPct val="9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  <a:defRPr/>
                </a:pPr>
                <a:endParaRPr lang="pt-BR" sz="2000" dirty="0">
                  <a:solidFill>
                    <a:srgbClr val="004165"/>
                  </a:solidFill>
                  <a:latin typeface="Petrobras Sans"/>
                </a:endParaRPr>
              </a:p>
            </p:txBody>
          </p:sp>
        </mc:Choice>
        <mc:Fallback xmlns="">
          <p:sp>
            <p:nvSpPr>
              <p:cNvPr id="4" name="Título 1">
                <a:extLst>
                  <a:ext uri="{FF2B5EF4-FFF2-40B4-BE49-F238E27FC236}">
                    <a16:creationId xmlns:a16="http://schemas.microsoft.com/office/drawing/2014/main" id="{71068A5E-21C3-2693-8BFA-5ED2EFD4FC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8867" y="593680"/>
                <a:ext cx="10925964" cy="5905732"/>
              </a:xfrm>
              <a:prstGeom prst="rect">
                <a:avLst/>
              </a:prstGeom>
              <a:blipFill>
                <a:blip r:embed="rId3"/>
                <a:stretch>
                  <a:fillRect l="-1339" r="-725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375930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1A38F9C-21D7-0C46-C9BA-737545E47B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79844C2C-47DA-0134-185F-DACC2E544184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B42CADDC-79BD-2689-3456-AF835551B296}"/>
              </a:ext>
            </a:extLst>
          </p:cNvPr>
          <p:cNvSpPr/>
          <p:nvPr/>
        </p:nvSpPr>
        <p:spPr>
          <a:xfrm>
            <a:off x="-1" y="133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 dirty="0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4B9C7B1E-7607-D56F-219D-E3FEA1D4AFE3}"/>
              </a:ext>
            </a:extLst>
          </p:cNvPr>
          <p:cNvSpPr txBox="1">
            <a:spLocks/>
          </p:cNvSpPr>
          <p:nvPr/>
        </p:nvSpPr>
        <p:spPr>
          <a:xfrm>
            <a:off x="468867" y="593680"/>
            <a:ext cx="10925964" cy="59057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004165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pt-BR" sz="200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r>
              <a:rPr lang="pt-BR" sz="2000" dirty="0" err="1">
                <a:latin typeface="Petrobras Sans"/>
              </a:rPr>
              <a:t>Paper</a:t>
            </a:r>
            <a:r>
              <a:rPr lang="pt-BR" sz="2000" dirty="0">
                <a:latin typeface="Petrobras Sans"/>
              </a:rPr>
              <a:t> com </a:t>
            </a:r>
            <a:r>
              <a:rPr lang="pt-BR" sz="2000" dirty="0" err="1">
                <a:latin typeface="Petrobras Sans"/>
              </a:rPr>
              <a:t>Bratvold</a:t>
            </a:r>
            <a:r>
              <a:rPr lang="pt-BR" sz="2000" b="0" dirty="0">
                <a:latin typeface="Petrobras Sans"/>
              </a:rPr>
              <a:t>.</a:t>
            </a: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pt-BR" sz="2000" b="0" dirty="0">
              <a:latin typeface="Petrobras Sans"/>
            </a:endParaRPr>
          </a:p>
          <a:p>
            <a:pPr>
              <a:defRPr/>
            </a:pPr>
            <a:r>
              <a:rPr lang="pt-BR" sz="2000" b="0" dirty="0">
                <a:latin typeface="Petrobras Sans"/>
              </a:rPr>
              <a:t> </a:t>
            </a:r>
            <a:endParaRPr lang="pt-BR" sz="2000" dirty="0">
              <a:latin typeface="Petrobras Sans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pt-BR" sz="2000" dirty="0">
              <a:latin typeface="Petrobras Sans"/>
            </a:endParaRPr>
          </a:p>
          <a:p>
            <a:pPr algn="just">
              <a:defRPr/>
            </a:pPr>
            <a:endParaRPr lang="pt-BR" sz="2000" dirty="0">
              <a:latin typeface="Petrobras Sans"/>
            </a:endParaRPr>
          </a:p>
          <a:p>
            <a:pPr algn="just">
              <a:defRPr/>
            </a:pPr>
            <a:endParaRPr lang="pt-BR" sz="2000" b="0" dirty="0">
              <a:latin typeface="Petrobras Sans"/>
            </a:endParaRPr>
          </a:p>
          <a:p>
            <a:pPr marL="800100" lvl="1" indent="-342900" algn="just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pt-BR" sz="2000" dirty="0">
              <a:solidFill>
                <a:srgbClr val="004165"/>
              </a:solidFill>
              <a:latin typeface="Petrobras Sans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E7D789F4-FDAC-C457-82DC-971993EB99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551" y="1446365"/>
            <a:ext cx="7515136" cy="2452993"/>
          </a:xfrm>
          <a:prstGeom prst="rect">
            <a:avLst/>
          </a:prstGeom>
        </p:spPr>
      </p:pic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419DF8FA-5778-04B7-6108-122EB1025D0E}"/>
              </a:ext>
            </a:extLst>
          </p:cNvPr>
          <p:cNvSpPr/>
          <p:nvPr/>
        </p:nvSpPr>
        <p:spPr>
          <a:xfrm>
            <a:off x="5205048" y="1617786"/>
            <a:ext cx="518746" cy="298938"/>
          </a:xfrm>
          <a:prstGeom prst="round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27D6E6D3-D9CE-BA15-CE56-CF3281026797}"/>
              </a:ext>
            </a:extLst>
          </p:cNvPr>
          <p:cNvSpPr/>
          <p:nvPr/>
        </p:nvSpPr>
        <p:spPr>
          <a:xfrm>
            <a:off x="990602" y="2105730"/>
            <a:ext cx="7569332" cy="338532"/>
          </a:xfrm>
          <a:prstGeom prst="round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6D4E2745-1CA5-4D36-F4B7-D9EE6A403F3D}"/>
              </a:ext>
            </a:extLst>
          </p:cNvPr>
          <p:cNvCxnSpPr>
            <a:stCxn id="6" idx="3"/>
          </p:cNvCxnSpPr>
          <p:nvPr/>
        </p:nvCxnSpPr>
        <p:spPr>
          <a:xfrm>
            <a:off x="8559934" y="2274996"/>
            <a:ext cx="417012" cy="2211"/>
          </a:xfrm>
          <a:prstGeom prst="straightConnector1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aixaDeTexto 8">
            <a:extLst>
              <a:ext uri="{FF2B5EF4-FFF2-40B4-BE49-F238E27FC236}">
                <a16:creationId xmlns:a16="http://schemas.microsoft.com/office/drawing/2014/main" id="{DB8EFFD2-5A4A-F899-93D5-E6434C7AE1B5}"/>
              </a:ext>
            </a:extLst>
          </p:cNvPr>
          <p:cNvSpPr txBox="1"/>
          <p:nvPr/>
        </p:nvSpPr>
        <p:spPr>
          <a:xfrm>
            <a:off x="8787814" y="2105730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solidFill>
                  <a:srgbClr val="00B0F0"/>
                </a:solidFill>
              </a:rPr>
              <a:t>MGB</a:t>
            </a:r>
          </a:p>
        </p:txBody>
      </p:sp>
      <p:cxnSp>
        <p:nvCxnSpPr>
          <p:cNvPr id="11" name="Conector: Angulado 10">
            <a:extLst>
              <a:ext uri="{FF2B5EF4-FFF2-40B4-BE49-F238E27FC236}">
                <a16:creationId xmlns:a16="http://schemas.microsoft.com/office/drawing/2014/main" id="{173D1EF1-C0EE-2C82-4BEA-B6A1710CF831}"/>
              </a:ext>
            </a:extLst>
          </p:cNvPr>
          <p:cNvCxnSpPr>
            <a:cxnSpLocks/>
            <a:stCxn id="5" idx="0"/>
          </p:cNvCxnSpPr>
          <p:nvPr/>
        </p:nvCxnSpPr>
        <p:spPr>
          <a:xfrm rot="5400000" flipH="1" flipV="1">
            <a:off x="5494502" y="1016289"/>
            <a:ext cx="571416" cy="631578"/>
          </a:xfrm>
          <a:prstGeom prst="bentConnector2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5B69CB64-23BA-AD05-937E-7DBF1B8010D1}"/>
              </a:ext>
            </a:extLst>
          </p:cNvPr>
          <p:cNvSpPr txBox="1"/>
          <p:nvPr/>
        </p:nvSpPr>
        <p:spPr>
          <a:xfrm>
            <a:off x="6053745" y="877036"/>
            <a:ext cx="4154123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chemeClr val="bg1"/>
                </a:solidFill>
              </a:rPr>
              <a:t>Opções: </a:t>
            </a:r>
            <a:r>
              <a:rPr lang="pt-BR" sz="1600" dirty="0" err="1">
                <a:solidFill>
                  <a:schemeClr val="bg1"/>
                </a:solidFill>
              </a:rPr>
              <a:t>divest</a:t>
            </a:r>
            <a:r>
              <a:rPr lang="pt-BR" sz="1600" dirty="0">
                <a:solidFill>
                  <a:schemeClr val="bg1"/>
                </a:solidFill>
              </a:rPr>
              <a:t>, </a:t>
            </a:r>
            <a:r>
              <a:rPr lang="pt-BR" sz="1600" dirty="0" err="1">
                <a:solidFill>
                  <a:schemeClr val="bg1"/>
                </a:solidFill>
              </a:rPr>
              <a:t>buyout</a:t>
            </a:r>
            <a:r>
              <a:rPr lang="pt-BR" sz="1600" dirty="0">
                <a:solidFill>
                  <a:schemeClr val="bg1"/>
                </a:solidFill>
              </a:rPr>
              <a:t>, continue.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6787F1BC-FABB-2984-851E-DFF70BCD4B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097" y="3899358"/>
            <a:ext cx="4257895" cy="2297601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20C83DC3-DBB1-090E-BA39-50B089FBAE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5119" y="4040147"/>
            <a:ext cx="4707638" cy="195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4621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5CDD70F-7BD9-61DE-AF62-2B65916E3E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A2D41399-4E95-4184-030E-60632052FB92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2567CB34-F153-5134-BBC3-33FC3AD7CE20}"/>
              </a:ext>
            </a:extLst>
          </p:cNvPr>
          <p:cNvSpPr/>
          <p:nvPr/>
        </p:nvSpPr>
        <p:spPr>
          <a:xfrm>
            <a:off x="-1" y="133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 dirty="0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F47DD28F-7A34-0AB2-CA1A-EC828033E721}"/>
              </a:ext>
            </a:extLst>
          </p:cNvPr>
          <p:cNvSpPr txBox="1">
            <a:spLocks/>
          </p:cNvSpPr>
          <p:nvPr/>
        </p:nvSpPr>
        <p:spPr>
          <a:xfrm>
            <a:off x="468867" y="593680"/>
            <a:ext cx="10925964" cy="59057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004165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pt-BR" sz="200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r>
              <a:rPr lang="pt-BR" sz="2000" dirty="0" err="1">
                <a:latin typeface="Petrobras Sans"/>
              </a:rPr>
              <a:t>Paper</a:t>
            </a:r>
            <a:r>
              <a:rPr lang="pt-BR" sz="2000" dirty="0">
                <a:latin typeface="Petrobras Sans"/>
              </a:rPr>
              <a:t> com </a:t>
            </a:r>
            <a:r>
              <a:rPr lang="pt-BR" sz="2000" dirty="0" err="1">
                <a:latin typeface="Petrobras Sans"/>
              </a:rPr>
              <a:t>Bratvold</a:t>
            </a:r>
            <a:r>
              <a:rPr lang="pt-BR" sz="2000" b="0" dirty="0">
                <a:latin typeface="Petrobras Sans"/>
              </a:rPr>
              <a:t>.</a:t>
            </a: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pt-BR" sz="2000" b="0" dirty="0">
              <a:latin typeface="Petrobras Sans"/>
            </a:endParaRPr>
          </a:p>
          <a:p>
            <a:pPr>
              <a:defRPr/>
            </a:pPr>
            <a:r>
              <a:rPr lang="pt-BR" sz="2000" b="0" dirty="0">
                <a:latin typeface="Petrobras Sans"/>
              </a:rPr>
              <a:t> </a:t>
            </a:r>
            <a:endParaRPr lang="pt-BR" sz="2000" dirty="0">
              <a:latin typeface="Petrobras Sans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pt-BR" sz="2000" dirty="0">
              <a:latin typeface="Petrobras Sans"/>
            </a:endParaRPr>
          </a:p>
          <a:p>
            <a:pPr algn="just">
              <a:defRPr/>
            </a:pPr>
            <a:endParaRPr lang="pt-BR" sz="2000" dirty="0">
              <a:latin typeface="Petrobras Sans"/>
            </a:endParaRPr>
          </a:p>
          <a:p>
            <a:pPr algn="just">
              <a:defRPr/>
            </a:pPr>
            <a:endParaRPr lang="pt-BR" sz="2000" b="0" dirty="0">
              <a:latin typeface="Petrobras Sans"/>
            </a:endParaRPr>
          </a:p>
          <a:p>
            <a:pPr marL="800100" lvl="1" indent="-342900" algn="just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pt-BR" sz="2000" dirty="0">
              <a:solidFill>
                <a:srgbClr val="004165"/>
              </a:solidFill>
              <a:latin typeface="Petrobras Sans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CEF5BE32-A40C-725A-DF39-F0D90E94E1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551" y="1446365"/>
            <a:ext cx="7515136" cy="2452993"/>
          </a:xfrm>
          <a:prstGeom prst="rect">
            <a:avLst/>
          </a:prstGeom>
        </p:spPr>
      </p:pic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73B53440-AE18-49E5-930D-694254B66D8D}"/>
              </a:ext>
            </a:extLst>
          </p:cNvPr>
          <p:cNvSpPr/>
          <p:nvPr/>
        </p:nvSpPr>
        <p:spPr>
          <a:xfrm>
            <a:off x="2954214" y="1617786"/>
            <a:ext cx="5605720" cy="298938"/>
          </a:xfrm>
          <a:prstGeom prst="round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37815418-847A-886D-B5C3-1AED71675526}"/>
              </a:ext>
            </a:extLst>
          </p:cNvPr>
          <p:cNvSpPr/>
          <p:nvPr/>
        </p:nvSpPr>
        <p:spPr>
          <a:xfrm>
            <a:off x="1043354" y="2109468"/>
            <a:ext cx="7569332" cy="128833"/>
          </a:xfrm>
          <a:prstGeom prst="round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FE40115D-22F3-0922-2CD1-5C6335BB9D21}"/>
              </a:ext>
            </a:extLst>
          </p:cNvPr>
          <p:cNvCxnSpPr>
            <a:cxnSpLocks/>
            <a:stCxn id="6" idx="3"/>
          </p:cNvCxnSpPr>
          <p:nvPr/>
        </p:nvCxnSpPr>
        <p:spPr>
          <a:xfrm>
            <a:off x="8612686" y="2173885"/>
            <a:ext cx="414947" cy="0"/>
          </a:xfrm>
          <a:prstGeom prst="straightConnector1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aixaDeTexto 8">
            <a:extLst>
              <a:ext uri="{FF2B5EF4-FFF2-40B4-BE49-F238E27FC236}">
                <a16:creationId xmlns:a16="http://schemas.microsoft.com/office/drawing/2014/main" id="{DEC50F2C-86AD-904C-26AC-5371CE06106D}"/>
              </a:ext>
            </a:extLst>
          </p:cNvPr>
          <p:cNvSpPr txBox="1"/>
          <p:nvPr/>
        </p:nvSpPr>
        <p:spPr>
          <a:xfrm>
            <a:off x="8824014" y="1998010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solidFill>
                  <a:srgbClr val="00B0F0"/>
                </a:solidFill>
              </a:rPr>
              <a:t>MGB</a:t>
            </a:r>
          </a:p>
        </p:txBody>
      </p:sp>
      <p:cxnSp>
        <p:nvCxnSpPr>
          <p:cNvPr id="11" name="Conector: Angulado 10">
            <a:extLst>
              <a:ext uri="{FF2B5EF4-FFF2-40B4-BE49-F238E27FC236}">
                <a16:creationId xmlns:a16="http://schemas.microsoft.com/office/drawing/2014/main" id="{2EF388D7-82C2-2717-6961-EC7F4CCEAB34}"/>
              </a:ext>
            </a:extLst>
          </p:cNvPr>
          <p:cNvCxnSpPr>
            <a:cxnSpLocks/>
            <a:stCxn id="5" idx="0"/>
          </p:cNvCxnSpPr>
          <p:nvPr/>
        </p:nvCxnSpPr>
        <p:spPr>
          <a:xfrm rot="5400000" flipH="1" flipV="1">
            <a:off x="5640828" y="1162616"/>
            <a:ext cx="571416" cy="338924"/>
          </a:xfrm>
          <a:prstGeom prst="bentConnector3">
            <a:avLst>
              <a:gd name="adj1" fmla="val 99238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9B9EE915-69A5-22B8-1094-1BB40DC8B875}"/>
              </a:ext>
            </a:extLst>
          </p:cNvPr>
          <p:cNvSpPr txBox="1"/>
          <p:nvPr/>
        </p:nvSpPr>
        <p:spPr>
          <a:xfrm>
            <a:off x="6053745" y="877036"/>
            <a:ext cx="41541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chemeClr val="bg1"/>
                </a:solidFill>
              </a:rPr>
              <a:t>Opções: </a:t>
            </a:r>
            <a:r>
              <a:rPr lang="pt-BR" sz="1600" dirty="0" err="1">
                <a:solidFill>
                  <a:schemeClr val="bg1"/>
                </a:solidFill>
              </a:rPr>
              <a:t>divest</a:t>
            </a:r>
            <a:r>
              <a:rPr lang="pt-BR" sz="1600" dirty="0">
                <a:solidFill>
                  <a:schemeClr val="bg1"/>
                </a:solidFill>
              </a:rPr>
              <a:t>, </a:t>
            </a:r>
            <a:r>
              <a:rPr lang="pt-BR" sz="1600" dirty="0" err="1">
                <a:solidFill>
                  <a:schemeClr val="bg1"/>
                </a:solidFill>
              </a:rPr>
              <a:t>buyout</a:t>
            </a:r>
            <a:r>
              <a:rPr lang="pt-BR" sz="1600" dirty="0">
                <a:solidFill>
                  <a:schemeClr val="bg1"/>
                </a:solidFill>
              </a:rPr>
              <a:t>, continue.</a:t>
            </a:r>
          </a:p>
        </p:txBody>
      </p:sp>
      <p:sp>
        <p:nvSpPr>
          <p:cNvPr id="20" name="Retângulo: Cantos Arredondados 19">
            <a:extLst>
              <a:ext uri="{FF2B5EF4-FFF2-40B4-BE49-F238E27FC236}">
                <a16:creationId xmlns:a16="http://schemas.microsoft.com/office/drawing/2014/main" id="{0BC1946D-077F-5F00-8A9E-B6A44021AFD3}"/>
              </a:ext>
            </a:extLst>
          </p:cNvPr>
          <p:cNvSpPr/>
          <p:nvPr/>
        </p:nvSpPr>
        <p:spPr>
          <a:xfrm>
            <a:off x="1046287" y="2261868"/>
            <a:ext cx="7569332" cy="128833"/>
          </a:xfrm>
          <a:prstGeom prst="round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1" name="Conector de Seta Reta 20">
            <a:extLst>
              <a:ext uri="{FF2B5EF4-FFF2-40B4-BE49-F238E27FC236}">
                <a16:creationId xmlns:a16="http://schemas.microsoft.com/office/drawing/2014/main" id="{36ABF69F-B656-0DF7-5BB2-49D49D8EF0B4}"/>
              </a:ext>
            </a:extLst>
          </p:cNvPr>
          <p:cNvCxnSpPr>
            <a:cxnSpLocks/>
            <a:stCxn id="20" idx="3"/>
          </p:cNvCxnSpPr>
          <p:nvPr/>
        </p:nvCxnSpPr>
        <p:spPr>
          <a:xfrm flipV="1">
            <a:off x="8615619" y="2326284"/>
            <a:ext cx="1149171" cy="1"/>
          </a:xfrm>
          <a:prstGeom prst="straightConnector1">
            <a:avLst/>
          </a:prstGeom>
          <a:ln w="285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12F8E11E-C869-D910-2531-A2655248426C}"/>
              </a:ext>
            </a:extLst>
          </p:cNvPr>
          <p:cNvSpPr txBox="1"/>
          <p:nvPr/>
        </p:nvSpPr>
        <p:spPr>
          <a:xfrm>
            <a:off x="9625124" y="2162220"/>
            <a:ext cx="20308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 err="1">
                <a:solidFill>
                  <a:schemeClr val="accent2"/>
                </a:solidFill>
              </a:rPr>
              <a:t>Two-factors</a:t>
            </a:r>
            <a:r>
              <a:rPr lang="pt-BR" sz="1600" dirty="0">
                <a:solidFill>
                  <a:schemeClr val="accent2"/>
                </a:solidFill>
              </a:rPr>
              <a:t> model</a:t>
            </a:r>
          </a:p>
        </p:txBody>
      </p:sp>
      <p:sp>
        <p:nvSpPr>
          <p:cNvPr id="24" name="Retângulo: Cantos Arredondados 23">
            <a:extLst>
              <a:ext uri="{FF2B5EF4-FFF2-40B4-BE49-F238E27FC236}">
                <a16:creationId xmlns:a16="http://schemas.microsoft.com/office/drawing/2014/main" id="{B82200D6-B5D4-01CA-2C6D-13F63EF518ED}"/>
              </a:ext>
            </a:extLst>
          </p:cNvPr>
          <p:cNvSpPr/>
          <p:nvPr/>
        </p:nvSpPr>
        <p:spPr>
          <a:xfrm>
            <a:off x="1055077" y="1954139"/>
            <a:ext cx="7569332" cy="128833"/>
          </a:xfrm>
          <a:prstGeom prst="roundRect">
            <a:avLst/>
          </a:prstGeom>
          <a:noFill/>
          <a:ln w="28575">
            <a:solidFill>
              <a:srgbClr val="FF7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6" name="Conector: Angulado 25">
            <a:extLst>
              <a:ext uri="{FF2B5EF4-FFF2-40B4-BE49-F238E27FC236}">
                <a16:creationId xmlns:a16="http://schemas.microsoft.com/office/drawing/2014/main" id="{61F3DD93-2A66-E831-D21F-03E5CF0F1DAD}"/>
              </a:ext>
            </a:extLst>
          </p:cNvPr>
          <p:cNvCxnSpPr>
            <a:cxnSpLocks/>
            <a:stCxn id="24" idx="1"/>
          </p:cNvCxnSpPr>
          <p:nvPr/>
        </p:nvCxnSpPr>
        <p:spPr>
          <a:xfrm rot="10800000" flipH="1" flipV="1">
            <a:off x="1055077" y="2018555"/>
            <a:ext cx="351692" cy="2474349"/>
          </a:xfrm>
          <a:prstGeom prst="bentConnector4">
            <a:avLst>
              <a:gd name="adj1" fmla="val -170000"/>
              <a:gd name="adj2" fmla="val 99983"/>
            </a:avLst>
          </a:prstGeom>
          <a:ln w="28575">
            <a:solidFill>
              <a:srgbClr val="FF7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ED018FEB-0D54-A8DA-8A6D-0BC0A909DB30}"/>
              </a:ext>
            </a:extLst>
          </p:cNvPr>
          <p:cNvSpPr txBox="1"/>
          <p:nvPr/>
        </p:nvSpPr>
        <p:spPr>
          <a:xfrm>
            <a:off x="1254664" y="4321298"/>
            <a:ext cx="17052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solidFill>
                  <a:srgbClr val="FF7000"/>
                </a:solidFill>
              </a:rPr>
              <a:t>The </a:t>
            </a:r>
            <a:r>
              <a:rPr lang="pt-BR" sz="1600" dirty="0" err="1">
                <a:solidFill>
                  <a:srgbClr val="FF7000"/>
                </a:solidFill>
              </a:rPr>
              <a:t>Egg</a:t>
            </a:r>
            <a:r>
              <a:rPr lang="pt-BR" sz="1600" dirty="0">
                <a:solidFill>
                  <a:srgbClr val="FF7000"/>
                </a:solidFill>
              </a:rPr>
              <a:t> model</a:t>
            </a:r>
          </a:p>
        </p:txBody>
      </p:sp>
      <p:pic>
        <p:nvPicPr>
          <p:cNvPr id="56" name="Imagem 55">
            <a:extLst>
              <a:ext uri="{FF2B5EF4-FFF2-40B4-BE49-F238E27FC236}">
                <a16:creationId xmlns:a16="http://schemas.microsoft.com/office/drawing/2014/main" id="{5F2E4B52-FC20-EE31-B22D-6B570A1887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86321" y="2602216"/>
            <a:ext cx="3060468" cy="1191575"/>
          </a:xfrm>
          <a:prstGeom prst="rect">
            <a:avLst/>
          </a:prstGeom>
        </p:spPr>
      </p:pic>
      <p:pic>
        <p:nvPicPr>
          <p:cNvPr id="58" name="Imagem 57">
            <a:extLst>
              <a:ext uri="{FF2B5EF4-FFF2-40B4-BE49-F238E27FC236}">
                <a16:creationId xmlns:a16="http://schemas.microsoft.com/office/drawing/2014/main" id="{4E9AB1D4-7A1A-3D57-BB8A-AD52ED175D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21555" y="3895233"/>
            <a:ext cx="2922775" cy="1257850"/>
          </a:xfrm>
          <a:prstGeom prst="rect">
            <a:avLst/>
          </a:prstGeom>
        </p:spPr>
      </p:pic>
      <p:pic>
        <p:nvPicPr>
          <p:cNvPr id="60" name="Imagem 59">
            <a:extLst>
              <a:ext uri="{FF2B5EF4-FFF2-40B4-BE49-F238E27FC236}">
                <a16:creationId xmlns:a16="http://schemas.microsoft.com/office/drawing/2014/main" id="{EAFF78C0-BCD7-B211-8913-DC00D726ED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01614" y="211829"/>
            <a:ext cx="2592215" cy="1742310"/>
          </a:xfrm>
          <a:prstGeom prst="rect">
            <a:avLst/>
          </a:prstGeom>
        </p:spPr>
      </p:pic>
      <p:grpSp>
        <p:nvGrpSpPr>
          <p:cNvPr id="66" name="Agrupar 65">
            <a:extLst>
              <a:ext uri="{FF2B5EF4-FFF2-40B4-BE49-F238E27FC236}">
                <a16:creationId xmlns:a16="http://schemas.microsoft.com/office/drawing/2014/main" id="{94F7DC03-D21B-1512-40B9-E6AB394745CD}"/>
              </a:ext>
            </a:extLst>
          </p:cNvPr>
          <p:cNvGrpSpPr/>
          <p:nvPr/>
        </p:nvGrpSpPr>
        <p:grpSpPr>
          <a:xfrm>
            <a:off x="291153" y="3846606"/>
            <a:ext cx="7205118" cy="2727484"/>
            <a:chOff x="291153" y="3846606"/>
            <a:chExt cx="7205118" cy="2727484"/>
          </a:xfrm>
        </p:grpSpPr>
        <p:grpSp>
          <p:nvGrpSpPr>
            <p:cNvPr id="61" name="Agrupar 60">
              <a:extLst>
                <a:ext uri="{FF2B5EF4-FFF2-40B4-BE49-F238E27FC236}">
                  <a16:creationId xmlns:a16="http://schemas.microsoft.com/office/drawing/2014/main" id="{B565BE0D-0D22-ADE9-D748-C753D0D542DC}"/>
                </a:ext>
              </a:extLst>
            </p:cNvPr>
            <p:cNvGrpSpPr/>
            <p:nvPr/>
          </p:nvGrpSpPr>
          <p:grpSpPr>
            <a:xfrm>
              <a:off x="291153" y="3846606"/>
              <a:ext cx="6096695" cy="2727484"/>
              <a:chOff x="291153" y="3846606"/>
              <a:chExt cx="6096695" cy="2727484"/>
            </a:xfrm>
          </p:grpSpPr>
          <p:pic>
            <p:nvPicPr>
              <p:cNvPr id="52" name="Imagem 51">
                <a:extLst>
                  <a:ext uri="{FF2B5EF4-FFF2-40B4-BE49-F238E27FC236}">
                    <a16:creationId xmlns:a16="http://schemas.microsoft.com/office/drawing/2014/main" id="{D4355137-B277-CC79-4939-16677FFD33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010011" y="3846606"/>
                <a:ext cx="1977625" cy="1470997"/>
              </a:xfrm>
              <a:prstGeom prst="rect">
                <a:avLst/>
              </a:prstGeom>
            </p:spPr>
          </p:pic>
          <p:pic>
            <p:nvPicPr>
              <p:cNvPr id="54" name="Imagem 53">
                <a:extLst>
                  <a:ext uri="{FF2B5EF4-FFF2-40B4-BE49-F238E27FC236}">
                    <a16:creationId xmlns:a16="http://schemas.microsoft.com/office/drawing/2014/main" id="{8352A65B-6FFA-D429-B8D1-C4D9E7E257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91153" y="5383380"/>
                <a:ext cx="6096695" cy="1190710"/>
              </a:xfrm>
              <a:prstGeom prst="rect">
                <a:avLst/>
              </a:prstGeom>
            </p:spPr>
          </p:pic>
        </p:grpSp>
        <p:pic>
          <p:nvPicPr>
            <p:cNvPr id="63" name="Imagem 62">
              <a:extLst>
                <a:ext uri="{FF2B5EF4-FFF2-40B4-BE49-F238E27FC236}">
                  <a16:creationId xmlns:a16="http://schemas.microsoft.com/office/drawing/2014/main" id="{E2922C5F-2EE0-7567-4928-414D2DE6711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685482" y="3980893"/>
              <a:ext cx="1810789" cy="601211"/>
            </a:xfrm>
            <a:prstGeom prst="rect">
              <a:avLst/>
            </a:prstGeom>
          </p:spPr>
        </p:pic>
        <p:pic>
          <p:nvPicPr>
            <p:cNvPr id="65" name="Imagem 64">
              <a:extLst>
                <a:ext uri="{FF2B5EF4-FFF2-40B4-BE49-F238E27FC236}">
                  <a16:creationId xmlns:a16="http://schemas.microsoft.com/office/drawing/2014/main" id="{E747D9F5-E922-FD98-301E-167CB29687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352924" y="4728873"/>
              <a:ext cx="1143347" cy="8484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97887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00BB560-F9FA-147C-0670-5A42C42830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5E3549F7-168A-2ACA-D67F-417D4DD2A5F2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088F277D-E918-1CFE-C11C-6315999F5365}"/>
              </a:ext>
            </a:extLst>
          </p:cNvPr>
          <p:cNvSpPr/>
          <p:nvPr/>
        </p:nvSpPr>
        <p:spPr>
          <a:xfrm>
            <a:off x="-1" y="266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 dirty="0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0D7D227A-F5C8-DA00-9062-657B293428CE}"/>
              </a:ext>
            </a:extLst>
          </p:cNvPr>
          <p:cNvSpPr txBox="1">
            <a:spLocks/>
          </p:cNvSpPr>
          <p:nvPr/>
        </p:nvSpPr>
        <p:spPr>
          <a:xfrm>
            <a:off x="468867" y="593680"/>
            <a:ext cx="10925964" cy="59057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004165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pt-BR" sz="200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r>
              <a:rPr lang="pt-BR" sz="2000" dirty="0" err="1">
                <a:latin typeface="Petrobras Sans"/>
              </a:rPr>
              <a:t>Paper</a:t>
            </a:r>
            <a:r>
              <a:rPr lang="pt-BR" sz="2000" dirty="0">
                <a:latin typeface="Petrobras Sans"/>
              </a:rPr>
              <a:t> ROC (2024).</a:t>
            </a:r>
            <a:endParaRPr lang="pt-BR" sz="2000" b="0" dirty="0">
              <a:latin typeface="Petrobras Sans"/>
            </a:endParaRP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pt-BR" sz="2000" b="0" dirty="0">
              <a:latin typeface="Petrobras Sans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pt-BR" sz="2000" b="0" dirty="0">
              <a:latin typeface="Petrobras Sans"/>
            </a:endParaRPr>
          </a:p>
          <a:p>
            <a:pPr>
              <a:defRPr/>
            </a:pPr>
            <a:r>
              <a:rPr lang="pt-BR" sz="2000" b="0" dirty="0">
                <a:latin typeface="Petrobras Sans"/>
              </a:rPr>
              <a:t> </a:t>
            </a:r>
            <a:endParaRPr lang="pt-BR" sz="2000" dirty="0">
              <a:latin typeface="Petrobras Sans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pt-BR" sz="2000" dirty="0">
              <a:latin typeface="Petrobras Sans"/>
            </a:endParaRPr>
          </a:p>
          <a:p>
            <a:pPr algn="just">
              <a:defRPr/>
            </a:pPr>
            <a:endParaRPr lang="pt-BR" sz="2000" dirty="0">
              <a:latin typeface="Petrobras Sans"/>
            </a:endParaRPr>
          </a:p>
          <a:p>
            <a:pPr algn="just">
              <a:defRPr/>
            </a:pPr>
            <a:endParaRPr lang="pt-BR" sz="2000" b="0" dirty="0">
              <a:latin typeface="Petrobras Sans"/>
            </a:endParaRPr>
          </a:p>
          <a:p>
            <a:pPr marL="800100" lvl="1" indent="-342900" algn="just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pt-BR" sz="2000" dirty="0">
              <a:solidFill>
                <a:srgbClr val="004165"/>
              </a:solidFill>
              <a:latin typeface="Petrobras San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ítulo 1">
                <a:extLst>
                  <a:ext uri="{FF2B5EF4-FFF2-40B4-BE49-F238E27FC236}">
                    <a16:creationId xmlns:a16="http://schemas.microsoft.com/office/drawing/2014/main" id="{272AE1AC-21A1-78CB-D160-DC97CE0D821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8867" y="1404945"/>
                <a:ext cx="7683217" cy="3333632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b="1" kern="1200">
                    <a:solidFill>
                      <a:srgbClr val="004165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marL="342900" indent="-342900" algn="just">
                  <a:buFont typeface="Arial" panose="020B0604020202020204" pitchFamily="34" charset="0"/>
                  <a:buChar char="•"/>
                  <a:defRPr/>
                </a:pPr>
                <a:r>
                  <a:rPr lang="pt-BR" sz="1600" dirty="0">
                    <a:latin typeface="Petrobras Sans"/>
                  </a:rPr>
                  <a:t>Geostatistical </a:t>
                </a:r>
                <a:r>
                  <a:rPr lang="pt-BR" sz="1600" dirty="0" err="1">
                    <a:latin typeface="Petrobras Sans"/>
                  </a:rPr>
                  <a:t>Analysis</a:t>
                </a:r>
                <a:endParaRPr lang="pt-BR" sz="160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1600" b="0" dirty="0">
                  <a:latin typeface="Petrobras Sans"/>
                </a:endParaRPr>
              </a:p>
              <a:p>
                <a:pPr marL="342900" indent="-342900" algn="just">
                  <a:buFont typeface="Wingdings" panose="05000000000000000000" pitchFamily="2" charset="2"/>
                  <a:buChar char="ü"/>
                  <a:defRPr/>
                </a:pPr>
                <a:endParaRPr lang="pt-BR" sz="1600" b="0" dirty="0"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Ø"/>
                  <a:defRPr/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𝜂</m:t>
                        </m:r>
                      </m:e>
                      <m:sup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d>
                      <m:dPr>
                        <m:ctrlP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e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</m:d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𝑣𝑎𝑟</m:t>
                        </m:r>
                        <m:d>
                          <m:dPr>
                            <m:ctrlPr>
                              <a:rPr lang="pt-BR" b="0" i="1" smtClean="0">
                                <a:solidFill>
                                  <a:srgbClr val="004165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pt-BR" b="0" i="1" smtClean="0">
                                <a:solidFill>
                                  <a:srgbClr val="004165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</m:d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pt-BR" b="0" i="1" smtClean="0">
                                <a:solidFill>
                                  <a:srgbClr val="004165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pt-BR" b="0" i="1" smtClean="0">
                                <a:solidFill>
                                  <a:srgbClr val="004165"/>
                                </a:solidFill>
                                <a:latin typeface="Cambria Math" panose="02040503050406030204" pitchFamily="18" charset="0"/>
                              </a:rPr>
                              <m:t>𝑣𝑎𝑟</m:t>
                            </m:r>
                            <m:d>
                              <m:dPr>
                                <m:ctrlPr>
                                  <a:rPr lang="pt-BR" b="0" i="1" smtClean="0">
                                    <a:solidFill>
                                      <a:srgbClr val="004165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pt-BR" b="0" i="1" smtClean="0">
                                    <a:solidFill>
                                      <a:srgbClr val="004165"/>
                                    </a:solidFill>
                                    <a:latin typeface="Cambria Math" panose="02040503050406030204" pitchFamily="18" charset="0"/>
                                  </a:rPr>
                                  <m:t>𝑋</m:t>
                                </m:r>
                              </m:e>
                              <m:e>
                                <m:r>
                                  <a:rPr lang="pt-BR" b="0" i="1" smtClean="0">
                                    <a:solidFill>
                                      <a:srgbClr val="004165"/>
                                    </a:solidFill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</m:e>
                            </m:d>
                          </m:e>
                        </m:d>
                      </m:num>
                      <m:den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𝑣𝑎𝑟</m:t>
                        </m:r>
                        <m:d>
                          <m:dPr>
                            <m:ctrlPr>
                              <a:rPr lang="pt-BR" b="0" i="1" smtClean="0">
                                <a:solidFill>
                                  <a:srgbClr val="004165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pt-BR" b="0" i="1" smtClean="0">
                                <a:solidFill>
                                  <a:srgbClr val="004165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</m:d>
                      </m:den>
                    </m:f>
                  </m:oMath>
                </a14:m>
                <a:endParaRPr lang="pt-BR" b="0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ü"/>
                  <a:defRPr/>
                </a:pPr>
                <a:endParaRPr lang="pt-BR" sz="1600" b="0" dirty="0"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Ø"/>
                  <a:defRPr/>
                </a:pPr>
                <a14:m>
                  <m:oMath xmlns:m="http://schemas.openxmlformats.org/officeDocument/2006/math"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𝑉𝑂𝐼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𝐸𝑀𝑉</m:t>
                        </m:r>
                      </m:e>
                      <m:sub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𝐸𝑀𝑉</m:t>
                        </m:r>
                      </m:e>
                      <m:sub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endParaRPr lang="pt-BR" b="0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ü"/>
                  <a:defRPr/>
                </a:pPr>
                <a:endParaRPr lang="pt-BR" b="0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Ø"/>
                  <a:defRPr/>
                </a:pPr>
                <a:r>
                  <a:rPr lang="pt-BR" dirty="0" err="1">
                    <a:solidFill>
                      <a:srgbClr val="004165"/>
                    </a:solidFill>
                    <a:latin typeface="Petrobras Sans"/>
                  </a:rPr>
                  <a:t>Decision</a:t>
                </a:r>
                <a:r>
                  <a:rPr lang="pt-BR" dirty="0">
                    <a:solidFill>
                      <a:srgbClr val="004165"/>
                    </a:solidFill>
                    <a:latin typeface="Petrobras Sans"/>
                  </a:rPr>
                  <a:t> </a:t>
                </a:r>
                <a:r>
                  <a:rPr lang="pt-BR" dirty="0" err="1">
                    <a:solidFill>
                      <a:srgbClr val="004165"/>
                    </a:solidFill>
                    <a:latin typeface="Petrobras Sans"/>
                  </a:rPr>
                  <a:t>rule</a:t>
                </a:r>
                <a:r>
                  <a:rPr lang="pt-BR" dirty="0">
                    <a:solidFill>
                      <a:srgbClr val="004165"/>
                    </a:solidFill>
                    <a:latin typeface="Petrobras Sans"/>
                  </a:rPr>
                  <a:t>: </a:t>
                </a:r>
                <a14:m>
                  <m:oMath xmlns:m="http://schemas.openxmlformats.org/officeDocument/2006/math"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𝐴𝑝𝑝𝑟𝑎𝑖𝑠𝑒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𝑖𝑓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𝑉𝑂𝐼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 &gt;  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𝑃𝑉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𝑎𝑝𝑝𝑟𝑎𝑖𝑠𝑎𝑙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𝑐𝑜𝑠𝑡</m:t>
                    </m:r>
                  </m:oMath>
                </a14:m>
                <a:endParaRPr lang="pt-BR" b="0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ü"/>
                  <a:defRPr/>
                </a:pPr>
                <a:endParaRPr lang="pt-BR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Ø"/>
                  <a:defRPr/>
                </a:pPr>
                <a14:m>
                  <m:oMath xmlns:m="http://schemas.openxmlformats.org/officeDocument/2006/math"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𝑉𝑂𝐼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</a:rPr>
                      <m:t>𝑉𝑂𝑃𝐼</m:t>
                    </m:r>
                    <m:r>
                      <a:rPr lang="pt-BR" b="0" i="1" smtClean="0">
                        <a:solidFill>
                          <a:srgbClr val="004165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sSup>
                      <m:sSupPr>
                        <m:ctrlP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𝜂</m:t>
                        </m:r>
                      </m:e>
                      <m:sup>
                        <m:r>
                          <a:rPr lang="pt-BR" b="0" i="1" smtClean="0">
                            <a:solidFill>
                              <a:srgbClr val="004165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endParaRPr lang="pt-BR" b="0" dirty="0">
                  <a:solidFill>
                    <a:srgbClr val="004165"/>
                  </a:solidFill>
                  <a:latin typeface="Petrobras Sans"/>
                </a:endParaRPr>
              </a:p>
              <a:p>
                <a:pPr lvl="1">
                  <a:defRPr/>
                </a:pPr>
                <a:endParaRPr lang="pt-BR" b="0" dirty="0">
                  <a:solidFill>
                    <a:srgbClr val="004165"/>
                  </a:solidFill>
                  <a:latin typeface="Petrobras Sans"/>
                </a:endParaRPr>
              </a:p>
              <a:p>
                <a:pPr lvl="1">
                  <a:defRPr/>
                </a:pPr>
                <a:endParaRPr lang="pt-BR" b="0" dirty="0">
                  <a:solidFill>
                    <a:srgbClr val="004165"/>
                  </a:solidFill>
                  <a:latin typeface="Petrobras Sans"/>
                </a:endParaRPr>
              </a:p>
              <a:p>
                <a:pPr marL="342900" indent="-342900" algn="just">
                  <a:buFont typeface="Wingdings" panose="05000000000000000000" pitchFamily="2" charset="2"/>
                  <a:buChar char="ü"/>
                  <a:defRPr/>
                </a:pPr>
                <a:endParaRPr lang="pt-BR" sz="1600" b="0" dirty="0">
                  <a:latin typeface="Petrobras Sans"/>
                </a:endParaRPr>
              </a:p>
              <a:p>
                <a:pPr marL="800100" lvl="1" indent="-342900" algn="just">
                  <a:buFont typeface="Wingdings" panose="05000000000000000000" pitchFamily="2" charset="2"/>
                  <a:buChar char="ü"/>
                  <a:defRPr/>
                </a:pPr>
                <a:endParaRPr lang="pt-BR" sz="800" b="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160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160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160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1600" dirty="0">
                  <a:latin typeface="Petrobras Sans"/>
                </a:endParaRPr>
              </a:p>
              <a:p>
                <a:pPr algn="just">
                  <a:defRPr/>
                </a:pPr>
                <a:endParaRPr lang="pt-BR" sz="1600" b="0" dirty="0">
                  <a:latin typeface="Petrobras Sans"/>
                </a:endParaRPr>
              </a:p>
              <a:p>
                <a:pPr marL="800100" lvl="1" indent="-342900" algn="just">
                  <a:lnSpc>
                    <a:spcPct val="9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  <a:defRPr/>
                </a:pPr>
                <a:endParaRPr lang="pt-BR" sz="1600" dirty="0">
                  <a:solidFill>
                    <a:srgbClr val="004165"/>
                  </a:solidFill>
                  <a:latin typeface="Petrobras Sans"/>
                </a:endParaRPr>
              </a:p>
            </p:txBody>
          </p:sp>
        </mc:Choice>
        <mc:Fallback xmlns="">
          <p:sp>
            <p:nvSpPr>
              <p:cNvPr id="2" name="Título 1">
                <a:extLst>
                  <a:ext uri="{FF2B5EF4-FFF2-40B4-BE49-F238E27FC236}">
                    <a16:creationId xmlns:a16="http://schemas.microsoft.com/office/drawing/2014/main" id="{272AE1AC-21A1-78CB-D160-DC97CE0D821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8867" y="1404945"/>
                <a:ext cx="7683217" cy="3333632"/>
              </a:xfrm>
              <a:prstGeom prst="rect">
                <a:avLst/>
              </a:prstGeom>
              <a:blipFill>
                <a:blip r:embed="rId3"/>
                <a:stretch>
                  <a:fillRect l="-1508" t="-2559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7" name="Agrupar 6">
            <a:extLst>
              <a:ext uri="{FF2B5EF4-FFF2-40B4-BE49-F238E27FC236}">
                <a16:creationId xmlns:a16="http://schemas.microsoft.com/office/drawing/2014/main" id="{E9E4B557-567A-D60B-5018-3608740F87F8}"/>
              </a:ext>
            </a:extLst>
          </p:cNvPr>
          <p:cNvGrpSpPr/>
          <p:nvPr/>
        </p:nvGrpSpPr>
        <p:grpSpPr>
          <a:xfrm>
            <a:off x="5396709" y="792376"/>
            <a:ext cx="5353325" cy="1906560"/>
            <a:chOff x="1657145" y="1294541"/>
            <a:chExt cx="7837804" cy="2537632"/>
          </a:xfrm>
        </p:grpSpPr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470EF437-E67D-46C7-A313-CB132192B5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657145" y="1591472"/>
              <a:ext cx="7837804" cy="2240701"/>
            </a:xfrm>
            <a:prstGeom prst="rect">
              <a:avLst/>
            </a:prstGeom>
          </p:spPr>
        </p:pic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1337E398-6B37-0033-22F5-EE8C592FC957}"/>
                </a:ext>
              </a:extLst>
            </p:cNvPr>
            <p:cNvSpPr txBox="1"/>
            <p:nvPr/>
          </p:nvSpPr>
          <p:spPr>
            <a:xfrm>
              <a:off x="2071297" y="1296166"/>
              <a:ext cx="2056450" cy="335413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pPr marL="0" lvl="1" algn="ctr" defTabSz="1218824">
                <a:lnSpc>
                  <a:spcPct val="150000"/>
                </a:lnSpc>
                <a:defRPr/>
              </a:pPr>
              <a:r>
                <a:rPr lang="pt-BR" sz="1200" kern="0" dirty="0" err="1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Variogram</a:t>
              </a:r>
              <a:endParaRPr lang="pt-BR" sz="1200" kern="0" dirty="0">
                <a:solidFill>
                  <a:schemeClr val="bg2">
                    <a:lumMod val="50000"/>
                  </a:schemeClr>
                </a:solidFill>
                <a:latin typeface="Trebuchet MS" panose="020B0603020202020204"/>
              </a:endParaRPr>
            </a:p>
          </p:txBody>
        </p:sp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id="{29B38A30-D102-9341-739D-65036D7EDCF6}"/>
                </a:ext>
              </a:extLst>
            </p:cNvPr>
            <p:cNvSpPr txBox="1"/>
            <p:nvPr/>
          </p:nvSpPr>
          <p:spPr>
            <a:xfrm>
              <a:off x="4698909" y="1294541"/>
              <a:ext cx="2056450" cy="335413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pPr marL="0" lvl="1" algn="ctr" defTabSz="1218824">
                <a:lnSpc>
                  <a:spcPct val="150000"/>
                </a:lnSpc>
                <a:defRPr/>
              </a:pPr>
              <a:r>
                <a:rPr lang="pt-BR" sz="1200" kern="0" dirty="0" err="1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Covariogram</a:t>
              </a:r>
              <a:endParaRPr lang="pt-BR" sz="1200" kern="0" dirty="0">
                <a:solidFill>
                  <a:schemeClr val="bg2">
                    <a:lumMod val="50000"/>
                  </a:schemeClr>
                </a:solidFill>
                <a:latin typeface="Trebuchet MS" panose="020B0603020202020204"/>
              </a:endParaRPr>
            </a:p>
          </p:txBody>
        </p:sp>
        <p:sp>
          <p:nvSpPr>
            <p:cNvPr id="16" name="CaixaDeTexto 15">
              <a:extLst>
                <a:ext uri="{FF2B5EF4-FFF2-40B4-BE49-F238E27FC236}">
                  <a16:creationId xmlns:a16="http://schemas.microsoft.com/office/drawing/2014/main" id="{D1DD0A81-B60E-AC72-F081-2FBFF8CEDA7A}"/>
                </a:ext>
              </a:extLst>
            </p:cNvPr>
            <p:cNvSpPr txBox="1"/>
            <p:nvPr/>
          </p:nvSpPr>
          <p:spPr>
            <a:xfrm>
              <a:off x="7326518" y="1296164"/>
              <a:ext cx="2056450" cy="335413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pPr marL="0" lvl="1" algn="ctr" defTabSz="1218824">
                <a:lnSpc>
                  <a:spcPct val="150000"/>
                </a:lnSpc>
                <a:defRPr/>
              </a:pPr>
              <a:r>
                <a:rPr lang="pt-BR" sz="1200" kern="0" dirty="0" err="1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Correlogram</a:t>
              </a:r>
              <a:endParaRPr lang="pt-BR" sz="1200" kern="0" dirty="0">
                <a:solidFill>
                  <a:schemeClr val="bg2">
                    <a:lumMod val="50000"/>
                  </a:schemeClr>
                </a:solidFill>
                <a:latin typeface="Trebuchet MS" panose="020B0603020202020204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CaixaDeTexto 25">
                <a:extLst>
                  <a:ext uri="{FF2B5EF4-FFF2-40B4-BE49-F238E27FC236}">
                    <a16:creationId xmlns:a16="http://schemas.microsoft.com/office/drawing/2014/main" id="{40E5E068-1396-23FD-74F2-103745D11241}"/>
                  </a:ext>
                </a:extLst>
              </p:cNvPr>
              <p:cNvSpPr txBox="1"/>
              <p:nvPr/>
            </p:nvSpPr>
            <p:spPr>
              <a:xfrm>
                <a:off x="1372782" y="4696456"/>
                <a:ext cx="3844677" cy="6347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1" algn="just"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1800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pt-BR" sz="1800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pt-BR" sz="1800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</m:t>
                      </m:r>
                      <m:r>
                        <a:rPr lang="pt-BR" sz="1800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pt-BR" sz="1800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sz="1800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t-BR" sz="1800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pt-BR" sz="1800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{"/>
                          <m:endChr m:val="}"/>
                          <m:ctrlPr>
                            <a:rPr lang="pt-BR" sz="1800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pt-BR" sz="1800" b="0" i="1" smtClean="0">
                                  <a:solidFill>
                                    <a:srgbClr val="004165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pt-BR" sz="1800" b="0" i="1" smtClean="0">
                                      <a:solidFill>
                                        <a:srgbClr val="004165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pt-BR" sz="1800" b="0" i="1" smtClean="0">
                                      <a:solidFill>
                                        <a:srgbClr val="004165"/>
                                      </a:solidFill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  <m:d>
                                    <m:dPr>
                                      <m:ctrlPr>
                                        <a:rPr lang="pt-BR" sz="1800" b="0" i="1" smtClean="0">
                                          <a:solidFill>
                                            <a:srgbClr val="00416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pt-BR" sz="1800" b="0" i="1" smtClean="0">
                                          <a:solidFill>
                                            <a:srgbClr val="00416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  <m:r>
                                        <a:rPr lang="pt-BR" sz="1800" b="0" i="1" smtClean="0">
                                          <a:solidFill>
                                            <a:srgbClr val="00416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  <m:r>
                                        <a:rPr lang="pt-BR" sz="1800" b="0" i="1" smtClean="0">
                                          <a:solidFill>
                                            <a:srgbClr val="00416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h</m:t>
                                      </m:r>
                                    </m:e>
                                  </m:d>
                                  <m:r>
                                    <a:rPr lang="pt-BR" sz="1800" b="0" i="1" smtClean="0">
                                      <a:solidFill>
                                        <a:srgbClr val="004165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pt-BR" sz="1800" b="0" i="1" smtClean="0">
                                      <a:solidFill>
                                        <a:srgbClr val="004165"/>
                                      </a:solidFill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  <m:r>
                                    <a:rPr lang="pt-BR" sz="1800" b="0" i="1" smtClean="0">
                                      <a:solidFill>
                                        <a:srgbClr val="004165"/>
                                      </a:solidFill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lang="pt-BR" sz="1800" b="0" i="1" smtClean="0">
                                      <a:solidFill>
                                        <a:srgbClr val="004165"/>
                                      </a:solidFill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  <m:r>
                                    <a:rPr lang="pt-BR" sz="1800" b="0" i="1" smtClean="0">
                                      <a:solidFill>
                                        <a:srgbClr val="004165"/>
                                      </a:solidFill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</m:d>
                            </m:e>
                            <m:sup>
                              <m:r>
                                <a:rPr lang="pt-BR" sz="1800" b="0" i="1" smtClean="0">
                                  <a:solidFill>
                                    <a:srgbClr val="004165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pt-BR" sz="1800" b="0" dirty="0">
                  <a:solidFill>
                    <a:srgbClr val="004165"/>
                  </a:solidFill>
                  <a:latin typeface="Petrobras Sans"/>
                </a:endParaRPr>
              </a:p>
            </p:txBody>
          </p:sp>
        </mc:Choice>
        <mc:Fallback xmlns="">
          <p:sp>
            <p:nvSpPr>
              <p:cNvPr id="26" name="CaixaDeTexto 25">
                <a:extLst>
                  <a:ext uri="{FF2B5EF4-FFF2-40B4-BE49-F238E27FC236}">
                    <a16:creationId xmlns:a16="http://schemas.microsoft.com/office/drawing/2014/main" id="{40E5E068-1396-23FD-74F2-103745D112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2782" y="4696456"/>
                <a:ext cx="3844677" cy="634789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CaixaDeTexto 26">
                <a:extLst>
                  <a:ext uri="{FF2B5EF4-FFF2-40B4-BE49-F238E27FC236}">
                    <a16:creationId xmlns:a16="http://schemas.microsoft.com/office/drawing/2014/main" id="{D2715FC4-02C5-39AD-7876-5C2811A94837}"/>
                  </a:ext>
                </a:extLst>
              </p:cNvPr>
              <p:cNvSpPr txBox="1"/>
              <p:nvPr/>
            </p:nvSpPr>
            <p:spPr>
              <a:xfrm>
                <a:off x="6351725" y="4830926"/>
                <a:ext cx="3141901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1" algn="just"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1800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𝐶𝑜𝑣</m:t>
                      </m:r>
                      <m:d>
                        <m:dPr>
                          <m:ctrlPr>
                            <a:rPr lang="pt-BR" sz="1800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800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h</m:t>
                          </m:r>
                        </m:e>
                      </m:d>
                      <m:r>
                        <a:rPr lang="pt-BR" sz="1800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1800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</a:rPr>
                        <m:t>𝐶𝑜𝑣</m:t>
                      </m:r>
                      <m:d>
                        <m:dPr>
                          <m:ctrlPr>
                            <a:rPr lang="pt-BR" sz="1800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800" b="0" i="1" smtClean="0">
                              <a:solidFill>
                                <a:srgbClr val="004165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e>
                      </m:d>
                      <m:r>
                        <a:rPr lang="pt-BR" sz="1800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pt-BR" sz="1800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pt-BR" sz="1800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pt-BR" sz="1800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</m:t>
                      </m:r>
                      <m:r>
                        <a:rPr lang="pt-BR" sz="1800" b="0" i="1" smtClean="0">
                          <a:solidFill>
                            <a:srgbClr val="00416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pt-BR" sz="1800" b="0" dirty="0">
                  <a:solidFill>
                    <a:srgbClr val="004165"/>
                  </a:solidFill>
                  <a:latin typeface="Petrobras Sans"/>
                </a:endParaRPr>
              </a:p>
            </p:txBody>
          </p:sp>
        </mc:Choice>
        <mc:Fallback xmlns="">
          <p:sp>
            <p:nvSpPr>
              <p:cNvPr id="27" name="CaixaDeTexto 26">
                <a:extLst>
                  <a:ext uri="{FF2B5EF4-FFF2-40B4-BE49-F238E27FC236}">
                    <a16:creationId xmlns:a16="http://schemas.microsoft.com/office/drawing/2014/main" id="{D2715FC4-02C5-39AD-7876-5C2811A948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1725" y="4830926"/>
                <a:ext cx="3141901" cy="369332"/>
              </a:xfrm>
              <a:prstGeom prst="rect">
                <a:avLst/>
              </a:prstGeom>
              <a:blipFill>
                <a:blip r:embed="rId6"/>
                <a:stretch>
                  <a:fillRect b="-13115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" name="Seta: para a Direita 27">
            <a:extLst>
              <a:ext uri="{FF2B5EF4-FFF2-40B4-BE49-F238E27FC236}">
                <a16:creationId xmlns:a16="http://schemas.microsoft.com/office/drawing/2014/main" id="{6EF6CC13-B4BC-9363-5F50-A5D9130989F0}"/>
              </a:ext>
            </a:extLst>
          </p:cNvPr>
          <p:cNvSpPr/>
          <p:nvPr/>
        </p:nvSpPr>
        <p:spPr>
          <a:xfrm>
            <a:off x="5473636" y="4839890"/>
            <a:ext cx="918199" cy="367553"/>
          </a:xfrm>
          <a:prstGeom prst="rightArrow">
            <a:avLst/>
          </a:prstGeom>
          <a:noFill/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075139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D752997-F1D3-1EF9-6889-2CD7D9B6C9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014BAF80-7871-70FA-46A2-E7AE9CE63D70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E02ED7AD-ED16-DE79-1EE7-2F86379915E9}"/>
              </a:ext>
            </a:extLst>
          </p:cNvPr>
          <p:cNvSpPr/>
          <p:nvPr/>
        </p:nvSpPr>
        <p:spPr>
          <a:xfrm>
            <a:off x="10634" y="134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60D72832-DA8F-B933-9A12-2BB11EA51D27}"/>
              </a:ext>
            </a:extLst>
          </p:cNvPr>
          <p:cNvGrpSpPr/>
          <p:nvPr/>
        </p:nvGrpSpPr>
        <p:grpSpPr>
          <a:xfrm>
            <a:off x="1336433" y="95981"/>
            <a:ext cx="8244027" cy="3261347"/>
            <a:chOff x="435527" y="1193130"/>
            <a:chExt cx="10933237" cy="4340852"/>
          </a:xfrm>
        </p:grpSpPr>
        <p:grpSp>
          <p:nvGrpSpPr>
            <p:cNvPr id="8" name="Agrupar 7">
              <a:extLst>
                <a:ext uri="{FF2B5EF4-FFF2-40B4-BE49-F238E27FC236}">
                  <a16:creationId xmlns:a16="http://schemas.microsoft.com/office/drawing/2014/main" id="{EE5B87D8-2486-DD4F-FF0F-36255C0A33C5}"/>
                </a:ext>
              </a:extLst>
            </p:cNvPr>
            <p:cNvGrpSpPr/>
            <p:nvPr/>
          </p:nvGrpSpPr>
          <p:grpSpPr>
            <a:xfrm>
              <a:off x="435527" y="1193130"/>
              <a:ext cx="7323521" cy="4260709"/>
              <a:chOff x="1636801" y="1193130"/>
              <a:chExt cx="7323521" cy="4260709"/>
            </a:xfrm>
          </p:grpSpPr>
          <p:pic>
            <p:nvPicPr>
              <p:cNvPr id="7" name="Imagem 6">
                <a:extLst>
                  <a:ext uri="{FF2B5EF4-FFF2-40B4-BE49-F238E27FC236}">
                    <a16:creationId xmlns:a16="http://schemas.microsoft.com/office/drawing/2014/main" id="{AF7648A4-3759-942F-AE8A-2A3839EBAB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636801" y="1193130"/>
                <a:ext cx="7323521" cy="4260709"/>
              </a:xfrm>
              <a:prstGeom prst="rect">
                <a:avLst/>
              </a:prstGeom>
            </p:spPr>
          </p:pic>
          <p:sp>
            <p:nvSpPr>
              <p:cNvPr id="6" name="Retângulo 5">
                <a:extLst>
                  <a:ext uri="{FF2B5EF4-FFF2-40B4-BE49-F238E27FC236}">
                    <a16:creationId xmlns:a16="http://schemas.microsoft.com/office/drawing/2014/main" id="{962049AC-535C-52E4-FE31-9F7D10C2F9D9}"/>
                  </a:ext>
                </a:extLst>
              </p:cNvPr>
              <p:cNvSpPr/>
              <p:nvPr/>
            </p:nvSpPr>
            <p:spPr>
              <a:xfrm>
                <a:off x="3191435" y="5091953"/>
                <a:ext cx="4258236" cy="361886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400">
                  <a:ln>
                    <a:solidFill>
                      <a:schemeClr val="tx2"/>
                    </a:solidFill>
                  </a:ln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81CBBADD-5063-2722-8423-66B56BF848CC}"/>
                </a:ext>
              </a:extLst>
            </p:cNvPr>
            <p:cNvSpPr txBox="1"/>
            <p:nvPr/>
          </p:nvSpPr>
          <p:spPr>
            <a:xfrm>
              <a:off x="796427" y="5033610"/>
              <a:ext cx="2733612" cy="500372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pPr marL="0" lvl="1" algn="ctr" defTabSz="1218824">
                <a:lnSpc>
                  <a:spcPct val="150000"/>
                </a:lnSpc>
                <a:defRPr/>
              </a:pPr>
              <a:r>
                <a:rPr lang="pt-BR" sz="1400" kern="0" dirty="0" err="1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Petroleum</a:t>
              </a:r>
              <a:r>
                <a:rPr lang="pt-BR" sz="1400" kern="0" dirty="0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 reservoir</a:t>
              </a:r>
            </a:p>
          </p:txBody>
        </p:sp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3C3AE305-897B-A64F-4375-E6A7AE6BF6E9}"/>
                </a:ext>
              </a:extLst>
            </p:cNvPr>
            <p:cNvSpPr txBox="1"/>
            <p:nvPr/>
          </p:nvSpPr>
          <p:spPr>
            <a:xfrm>
              <a:off x="4741084" y="5033610"/>
              <a:ext cx="2180687" cy="375937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pPr marL="0" lvl="1" algn="ctr" defTabSz="1218824">
                <a:lnSpc>
                  <a:spcPct val="150000"/>
                </a:lnSpc>
                <a:defRPr/>
              </a:pPr>
              <a:r>
                <a:rPr lang="pt-BR" sz="1400" kern="0" dirty="0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Chance of </a:t>
              </a:r>
              <a:r>
                <a:rPr lang="pt-BR" sz="1400" kern="0" dirty="0" err="1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Success</a:t>
              </a:r>
              <a:endParaRPr lang="pt-BR" sz="1400" kern="0" dirty="0">
                <a:solidFill>
                  <a:schemeClr val="bg2">
                    <a:lumMod val="50000"/>
                  </a:schemeClr>
                </a:solidFill>
                <a:latin typeface="Trebuchet MS" panose="020B0603020202020204"/>
              </a:endParaRPr>
            </a:p>
          </p:txBody>
        </p:sp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CC8E3CAF-514A-A4EB-7EF8-A5E238F191CF}"/>
                </a:ext>
              </a:extLst>
            </p:cNvPr>
            <p:cNvSpPr txBox="1"/>
            <p:nvPr/>
          </p:nvSpPr>
          <p:spPr>
            <a:xfrm rot="16200000">
              <a:off x="6640311" y="3163964"/>
              <a:ext cx="2056450" cy="314015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pPr marL="0" lvl="1" algn="ctr" defTabSz="1218824">
                <a:lnSpc>
                  <a:spcPct val="150000"/>
                </a:lnSpc>
                <a:defRPr/>
              </a:pPr>
              <a:r>
                <a:rPr lang="pt-BR" sz="1050" kern="0" dirty="0" err="1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CoS</a:t>
              </a:r>
              <a:r>
                <a:rPr lang="pt-BR" sz="1050" kern="0" dirty="0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 (%)</a:t>
              </a:r>
            </a:p>
          </p:txBody>
        </p:sp>
        <p:pic>
          <p:nvPicPr>
            <p:cNvPr id="13" name="Imagem 12">
              <a:extLst>
                <a:ext uri="{FF2B5EF4-FFF2-40B4-BE49-F238E27FC236}">
                  <a16:creationId xmlns:a16="http://schemas.microsoft.com/office/drawing/2014/main" id="{D5F54112-2B72-F5B7-8D1B-728C49CB1A0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867615" y="1241613"/>
              <a:ext cx="3501149" cy="3818964"/>
            </a:xfrm>
            <a:prstGeom prst="rect">
              <a:avLst/>
            </a:prstGeom>
          </p:spPr>
        </p:pic>
        <p:sp>
          <p:nvSpPr>
            <p:cNvPr id="16" name="CaixaDeTexto 15">
              <a:extLst>
                <a:ext uri="{FF2B5EF4-FFF2-40B4-BE49-F238E27FC236}">
                  <a16:creationId xmlns:a16="http://schemas.microsoft.com/office/drawing/2014/main" id="{6D5AE7CD-E441-E199-1FE2-06C59AF44655}"/>
                </a:ext>
              </a:extLst>
            </p:cNvPr>
            <p:cNvSpPr txBox="1"/>
            <p:nvPr/>
          </p:nvSpPr>
          <p:spPr>
            <a:xfrm>
              <a:off x="8364249" y="5033610"/>
              <a:ext cx="2180687" cy="375937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pPr marL="0" lvl="1" algn="ctr" defTabSz="1218824">
                <a:lnSpc>
                  <a:spcPct val="150000"/>
                </a:lnSpc>
                <a:defRPr/>
              </a:pPr>
              <a:r>
                <a:rPr lang="pt-BR" sz="1400" kern="0" dirty="0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Prior </a:t>
              </a:r>
              <a:r>
                <a:rPr lang="pt-BR" sz="1400" kern="0" dirty="0" err="1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variance</a:t>
              </a:r>
              <a:endParaRPr lang="pt-BR" sz="1400" kern="0" dirty="0">
                <a:solidFill>
                  <a:schemeClr val="bg2">
                    <a:lumMod val="50000"/>
                  </a:schemeClr>
                </a:solidFill>
                <a:latin typeface="Trebuchet MS" panose="020B0603020202020204"/>
              </a:endParaRPr>
            </a:p>
          </p:txBody>
        </p: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B08A303C-56FA-0214-BAB5-6AA049640A4A}"/>
              </a:ext>
            </a:extLst>
          </p:cNvPr>
          <p:cNvGrpSpPr/>
          <p:nvPr/>
        </p:nvGrpSpPr>
        <p:grpSpPr>
          <a:xfrm>
            <a:off x="1439462" y="3481776"/>
            <a:ext cx="8037969" cy="2895967"/>
            <a:chOff x="232515" y="1057144"/>
            <a:chExt cx="10925452" cy="3871805"/>
          </a:xfrm>
        </p:grpSpPr>
        <p:pic>
          <p:nvPicPr>
            <p:cNvPr id="3" name="Imagem 2">
              <a:extLst>
                <a:ext uri="{FF2B5EF4-FFF2-40B4-BE49-F238E27FC236}">
                  <a16:creationId xmlns:a16="http://schemas.microsoft.com/office/drawing/2014/main" id="{468FCAF2-2EE8-134B-DBF2-16B3C03A6B0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2515" y="1057144"/>
              <a:ext cx="7499482" cy="3834263"/>
            </a:xfrm>
            <a:prstGeom prst="rect">
              <a:avLst/>
            </a:prstGeom>
          </p:spPr>
        </p:pic>
        <p:pic>
          <p:nvPicPr>
            <p:cNvPr id="5" name="Imagem 4">
              <a:extLst>
                <a:ext uri="{FF2B5EF4-FFF2-40B4-BE49-F238E27FC236}">
                  <a16:creationId xmlns:a16="http://schemas.microsoft.com/office/drawing/2014/main" id="{8074FA34-8FA2-BF02-6190-9EFFB056D1F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740962" y="1094687"/>
              <a:ext cx="3417005" cy="3834262"/>
            </a:xfrm>
            <a:prstGeom prst="rect">
              <a:avLst/>
            </a:prstGeom>
          </p:spPr>
        </p:pic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51DF9730-CD41-5322-FA38-99B0657B99F4}"/>
                </a:ext>
              </a:extLst>
            </p:cNvPr>
            <p:cNvSpPr/>
            <p:nvPr/>
          </p:nvSpPr>
          <p:spPr>
            <a:xfrm>
              <a:off x="3765176" y="2635624"/>
              <a:ext cx="251012" cy="79337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4" name="Retângulo 13">
              <a:extLst>
                <a:ext uri="{FF2B5EF4-FFF2-40B4-BE49-F238E27FC236}">
                  <a16:creationId xmlns:a16="http://schemas.microsoft.com/office/drawing/2014/main" id="{1E710BEC-5B3B-9962-4896-ABCD88E9981C}"/>
                </a:ext>
              </a:extLst>
            </p:cNvPr>
            <p:cNvSpPr/>
            <p:nvPr/>
          </p:nvSpPr>
          <p:spPr>
            <a:xfrm>
              <a:off x="7497445" y="2414751"/>
              <a:ext cx="251012" cy="133249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21903288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4D86075-0639-ECE9-5827-616D2A6D63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 44">
            <a:extLst>
              <a:ext uri="{FF2B5EF4-FFF2-40B4-BE49-F238E27FC236}">
                <a16:creationId xmlns:a16="http://schemas.microsoft.com/office/drawing/2014/main" id="{2B107B33-E7F8-7970-7CDA-7BBA9C7FDFF4}"/>
              </a:ext>
            </a:extLst>
          </p:cNvPr>
          <p:cNvSpPr/>
          <p:nvPr/>
        </p:nvSpPr>
        <p:spPr>
          <a:xfrm rot="217873">
            <a:off x="-195851" y="-73699"/>
            <a:ext cx="11308596" cy="7277205"/>
          </a:xfrm>
          <a:custGeom>
            <a:avLst/>
            <a:gdLst>
              <a:gd name="connsiteX0" fmla="*/ 1923638 w 8484392"/>
              <a:gd name="connsiteY0" fmla="*/ 415044 h 5459799"/>
              <a:gd name="connsiteX1" fmla="*/ 8484392 w 8484392"/>
              <a:gd name="connsiteY1" fmla="*/ 0 h 5459799"/>
              <a:gd name="connsiteX2" fmla="*/ 8102709 w 8484392"/>
              <a:gd name="connsiteY2" fmla="*/ 4405211 h 5459799"/>
              <a:gd name="connsiteX3" fmla="*/ 8100222 w 8484392"/>
              <a:gd name="connsiteY3" fmla="*/ 4418569 h 5459799"/>
              <a:gd name="connsiteX4" fmla="*/ 8098481 w 8484392"/>
              <a:gd name="connsiteY4" fmla="*/ 4435841 h 5459799"/>
              <a:gd name="connsiteX5" fmla="*/ 7937903 w 8484392"/>
              <a:gd name="connsiteY5" fmla="*/ 4631621 h 5459799"/>
              <a:gd name="connsiteX6" fmla="*/ 7897134 w 8484392"/>
              <a:gd name="connsiteY6" fmla="*/ 4644278 h 5459799"/>
              <a:gd name="connsiteX7" fmla="*/ 7895443 w 8484392"/>
              <a:gd name="connsiteY7" fmla="*/ 4646127 h 5459799"/>
              <a:gd name="connsiteX8" fmla="*/ 5952206 w 8484392"/>
              <a:gd name="connsiteY8" fmla="*/ 5101859 h 5459799"/>
              <a:gd name="connsiteX9" fmla="*/ 311946 w 8484392"/>
              <a:gd name="connsiteY9" fmla="*/ 5459799 h 5459799"/>
              <a:gd name="connsiteX10" fmla="*/ 0 w 8484392"/>
              <a:gd name="connsiteY10" fmla="*/ 544304 h 5459799"/>
              <a:gd name="connsiteX11" fmla="*/ 1924091 w 8484392"/>
              <a:gd name="connsiteY11" fmla="*/ 422198 h 545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84392" h="5459799">
                <a:moveTo>
                  <a:pt x="1923638" y="415044"/>
                </a:moveTo>
                <a:lnTo>
                  <a:pt x="8484392" y="0"/>
                </a:lnTo>
                <a:cubicBezTo>
                  <a:pt x="8371381" y="1300090"/>
                  <a:pt x="8215720" y="3105121"/>
                  <a:pt x="8102709" y="4405211"/>
                </a:cubicBezTo>
                <a:lnTo>
                  <a:pt x="8100222" y="4418569"/>
                </a:lnTo>
                <a:lnTo>
                  <a:pt x="8098481" y="4435841"/>
                </a:lnTo>
                <a:cubicBezTo>
                  <a:pt x="8080367" y="4524362"/>
                  <a:pt x="8019247" y="4597216"/>
                  <a:pt x="7937903" y="4631621"/>
                </a:cubicBezTo>
                <a:lnTo>
                  <a:pt x="7897134" y="4644278"/>
                </a:lnTo>
                <a:lnTo>
                  <a:pt x="7895443" y="4646127"/>
                </a:lnTo>
                <a:lnTo>
                  <a:pt x="5952206" y="5101859"/>
                </a:lnTo>
                <a:lnTo>
                  <a:pt x="311946" y="5459799"/>
                </a:lnTo>
                <a:lnTo>
                  <a:pt x="0" y="544304"/>
                </a:lnTo>
                <a:lnTo>
                  <a:pt x="1924091" y="422198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sp>
        <p:nvSpPr>
          <p:cNvPr id="46" name="Forma Livre 45">
            <a:extLst>
              <a:ext uri="{FF2B5EF4-FFF2-40B4-BE49-F238E27FC236}">
                <a16:creationId xmlns:a16="http://schemas.microsoft.com/office/drawing/2014/main" id="{1B7A97B3-200D-90F2-8D41-367756C4C678}"/>
              </a:ext>
            </a:extLst>
          </p:cNvPr>
          <p:cNvSpPr/>
          <p:nvPr/>
        </p:nvSpPr>
        <p:spPr>
          <a:xfrm>
            <a:off x="10634" y="134"/>
            <a:ext cx="12192001" cy="6857734"/>
          </a:xfrm>
          <a:custGeom>
            <a:avLst/>
            <a:gdLst>
              <a:gd name="connsiteX0" fmla="*/ 0 w 9147176"/>
              <a:gd name="connsiteY0" fmla="*/ 0 h 5145086"/>
              <a:gd name="connsiteX1" fmla="*/ 2269294 w 9147176"/>
              <a:gd name="connsiteY1" fmla="*/ 0 h 5145086"/>
              <a:gd name="connsiteX2" fmla="*/ 4245697 w 9147176"/>
              <a:gd name="connsiteY2" fmla="*/ 0 h 5145086"/>
              <a:gd name="connsiteX3" fmla="*/ 9147176 w 9147176"/>
              <a:gd name="connsiteY3" fmla="*/ 0 h 5145086"/>
              <a:gd name="connsiteX4" fmla="*/ 8810162 w 9147176"/>
              <a:gd name="connsiteY4" fmla="*/ 3906399 h 5145086"/>
              <a:gd name="connsiteX5" fmla="*/ 8807671 w 9147176"/>
              <a:gd name="connsiteY5" fmla="*/ 3919779 h 5145086"/>
              <a:gd name="connsiteX6" fmla="*/ 8805927 w 9147176"/>
              <a:gd name="connsiteY6" fmla="*/ 3937078 h 5145086"/>
              <a:gd name="connsiteX7" fmla="*/ 8645098 w 9147176"/>
              <a:gd name="connsiteY7" fmla="*/ 4133167 h 5145086"/>
              <a:gd name="connsiteX8" fmla="*/ 8604263 w 9147176"/>
              <a:gd name="connsiteY8" fmla="*/ 4145842 h 5145086"/>
              <a:gd name="connsiteX9" fmla="*/ 8602569 w 9147176"/>
              <a:gd name="connsiteY9" fmla="*/ 4147693 h 5145086"/>
              <a:gd name="connsiteX10" fmla="*/ 4364065 w 9147176"/>
              <a:gd name="connsiteY10" fmla="*/ 5145086 h 5145086"/>
              <a:gd name="connsiteX11" fmla="*/ 0 w 9147176"/>
              <a:gd name="connsiteY11" fmla="*/ 5145086 h 514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176" h="5145086">
                <a:moveTo>
                  <a:pt x="0" y="0"/>
                </a:moveTo>
                <a:lnTo>
                  <a:pt x="2269294" y="0"/>
                </a:lnTo>
                <a:lnTo>
                  <a:pt x="4245697" y="0"/>
                </a:lnTo>
                <a:lnTo>
                  <a:pt x="9147176" y="0"/>
                </a:lnTo>
                <a:cubicBezTo>
                  <a:pt x="9033987" y="1302132"/>
                  <a:pt x="8923351" y="2604267"/>
                  <a:pt x="8810162" y="3906399"/>
                </a:cubicBezTo>
                <a:lnTo>
                  <a:pt x="8807671" y="3919779"/>
                </a:lnTo>
                <a:lnTo>
                  <a:pt x="8805927" y="3937078"/>
                </a:lnTo>
                <a:cubicBezTo>
                  <a:pt x="8787785" y="4025738"/>
                  <a:pt x="8726568" y="4098707"/>
                  <a:pt x="8645098" y="4133167"/>
                </a:cubicBezTo>
                <a:lnTo>
                  <a:pt x="8604263" y="4145842"/>
                </a:lnTo>
                <a:lnTo>
                  <a:pt x="8602569" y="4147693"/>
                </a:lnTo>
                <a:lnTo>
                  <a:pt x="4364065" y="5145086"/>
                </a:lnTo>
                <a:lnTo>
                  <a:pt x="0" y="5145086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03"/>
            <a:endParaRPr lang="pt-BR" sz="1799">
              <a:solidFill>
                <a:srgbClr val="FDC82F"/>
              </a:solidFill>
              <a:latin typeface="Trebuchet MS" panose="020B0603020202020204"/>
            </a:endParaRP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E3E55E14-C8B9-A344-259F-D9FDEAB664BB}"/>
              </a:ext>
            </a:extLst>
          </p:cNvPr>
          <p:cNvGrpSpPr/>
          <p:nvPr/>
        </p:nvGrpSpPr>
        <p:grpSpPr>
          <a:xfrm>
            <a:off x="1336433" y="95981"/>
            <a:ext cx="8244027" cy="3261347"/>
            <a:chOff x="435527" y="1193130"/>
            <a:chExt cx="10933237" cy="4340852"/>
          </a:xfrm>
        </p:grpSpPr>
        <p:grpSp>
          <p:nvGrpSpPr>
            <p:cNvPr id="8" name="Agrupar 7">
              <a:extLst>
                <a:ext uri="{FF2B5EF4-FFF2-40B4-BE49-F238E27FC236}">
                  <a16:creationId xmlns:a16="http://schemas.microsoft.com/office/drawing/2014/main" id="{4509704A-18B0-A2EA-28DC-D3C13A391E74}"/>
                </a:ext>
              </a:extLst>
            </p:cNvPr>
            <p:cNvGrpSpPr/>
            <p:nvPr/>
          </p:nvGrpSpPr>
          <p:grpSpPr>
            <a:xfrm>
              <a:off x="435527" y="1193130"/>
              <a:ext cx="7323521" cy="4260709"/>
              <a:chOff x="1636801" y="1193130"/>
              <a:chExt cx="7323521" cy="4260709"/>
            </a:xfrm>
          </p:grpSpPr>
          <p:pic>
            <p:nvPicPr>
              <p:cNvPr id="7" name="Imagem 6">
                <a:extLst>
                  <a:ext uri="{FF2B5EF4-FFF2-40B4-BE49-F238E27FC236}">
                    <a16:creationId xmlns:a16="http://schemas.microsoft.com/office/drawing/2014/main" id="{A8F3811E-2ACB-D464-5B2C-35B1ED2596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636801" y="1193130"/>
                <a:ext cx="7323521" cy="4260709"/>
              </a:xfrm>
              <a:prstGeom prst="rect">
                <a:avLst/>
              </a:prstGeom>
            </p:spPr>
          </p:pic>
          <p:sp>
            <p:nvSpPr>
              <p:cNvPr id="6" name="Retângulo 5">
                <a:extLst>
                  <a:ext uri="{FF2B5EF4-FFF2-40B4-BE49-F238E27FC236}">
                    <a16:creationId xmlns:a16="http://schemas.microsoft.com/office/drawing/2014/main" id="{B3BB68A6-35F7-1C88-DD54-74BA90DB2481}"/>
                  </a:ext>
                </a:extLst>
              </p:cNvPr>
              <p:cNvSpPr/>
              <p:nvPr/>
            </p:nvSpPr>
            <p:spPr>
              <a:xfrm>
                <a:off x="3191435" y="5091953"/>
                <a:ext cx="4258236" cy="361886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400">
                  <a:ln>
                    <a:solidFill>
                      <a:schemeClr val="tx2"/>
                    </a:solidFill>
                  </a:ln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DA3C7260-3FE1-60E7-7F17-39F9C56E05AB}"/>
                </a:ext>
              </a:extLst>
            </p:cNvPr>
            <p:cNvSpPr txBox="1"/>
            <p:nvPr/>
          </p:nvSpPr>
          <p:spPr>
            <a:xfrm>
              <a:off x="796427" y="5033610"/>
              <a:ext cx="2733612" cy="500372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pPr marL="0" lvl="1" algn="ctr" defTabSz="1218824">
                <a:lnSpc>
                  <a:spcPct val="150000"/>
                </a:lnSpc>
                <a:defRPr/>
              </a:pPr>
              <a:r>
                <a:rPr lang="pt-BR" sz="1400" kern="0" dirty="0" err="1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Petroleum</a:t>
              </a:r>
              <a:r>
                <a:rPr lang="pt-BR" sz="1400" kern="0" dirty="0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 reservoir</a:t>
              </a:r>
            </a:p>
          </p:txBody>
        </p:sp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198FF8C2-48F1-B105-4548-4466E1FF1975}"/>
                </a:ext>
              </a:extLst>
            </p:cNvPr>
            <p:cNvSpPr txBox="1"/>
            <p:nvPr/>
          </p:nvSpPr>
          <p:spPr>
            <a:xfrm>
              <a:off x="4741084" y="5033610"/>
              <a:ext cx="2180687" cy="375937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pPr marL="0" lvl="1" algn="ctr" defTabSz="1218824">
                <a:lnSpc>
                  <a:spcPct val="150000"/>
                </a:lnSpc>
                <a:defRPr/>
              </a:pPr>
              <a:r>
                <a:rPr lang="pt-BR" sz="1400" kern="0" dirty="0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Chance of </a:t>
              </a:r>
              <a:r>
                <a:rPr lang="pt-BR" sz="1400" kern="0" dirty="0" err="1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Success</a:t>
              </a:r>
              <a:endParaRPr lang="pt-BR" sz="1400" kern="0" dirty="0">
                <a:solidFill>
                  <a:schemeClr val="bg2">
                    <a:lumMod val="50000"/>
                  </a:schemeClr>
                </a:solidFill>
                <a:latin typeface="Trebuchet MS" panose="020B0603020202020204"/>
              </a:endParaRPr>
            </a:p>
          </p:txBody>
        </p:sp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5928D482-8047-3E4C-86D8-58A194CAB673}"/>
                </a:ext>
              </a:extLst>
            </p:cNvPr>
            <p:cNvSpPr txBox="1"/>
            <p:nvPr/>
          </p:nvSpPr>
          <p:spPr>
            <a:xfrm rot="16200000">
              <a:off x="6640311" y="3163964"/>
              <a:ext cx="2056450" cy="314015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pPr marL="0" lvl="1" algn="ctr" defTabSz="1218824">
                <a:lnSpc>
                  <a:spcPct val="150000"/>
                </a:lnSpc>
                <a:defRPr/>
              </a:pPr>
              <a:r>
                <a:rPr lang="pt-BR" sz="1050" kern="0" dirty="0" err="1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CoS</a:t>
              </a:r>
              <a:r>
                <a:rPr lang="pt-BR" sz="1050" kern="0" dirty="0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 (%)</a:t>
              </a:r>
            </a:p>
          </p:txBody>
        </p:sp>
        <p:pic>
          <p:nvPicPr>
            <p:cNvPr id="13" name="Imagem 12">
              <a:extLst>
                <a:ext uri="{FF2B5EF4-FFF2-40B4-BE49-F238E27FC236}">
                  <a16:creationId xmlns:a16="http://schemas.microsoft.com/office/drawing/2014/main" id="{5F2A50E1-255D-051E-26CE-79D764C60B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867615" y="1241613"/>
              <a:ext cx="3501149" cy="3818964"/>
            </a:xfrm>
            <a:prstGeom prst="rect">
              <a:avLst/>
            </a:prstGeom>
          </p:spPr>
        </p:pic>
        <p:sp>
          <p:nvSpPr>
            <p:cNvPr id="16" name="CaixaDeTexto 15">
              <a:extLst>
                <a:ext uri="{FF2B5EF4-FFF2-40B4-BE49-F238E27FC236}">
                  <a16:creationId xmlns:a16="http://schemas.microsoft.com/office/drawing/2014/main" id="{FDBBB615-7A22-902A-BCFD-08B19D1C7350}"/>
                </a:ext>
              </a:extLst>
            </p:cNvPr>
            <p:cNvSpPr txBox="1"/>
            <p:nvPr/>
          </p:nvSpPr>
          <p:spPr>
            <a:xfrm>
              <a:off x="8364249" y="5033610"/>
              <a:ext cx="2180687" cy="375937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pPr marL="0" lvl="1" algn="ctr" defTabSz="1218824">
                <a:lnSpc>
                  <a:spcPct val="150000"/>
                </a:lnSpc>
                <a:defRPr/>
              </a:pPr>
              <a:r>
                <a:rPr lang="pt-BR" sz="1400" kern="0" dirty="0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Prior </a:t>
              </a:r>
              <a:r>
                <a:rPr lang="pt-BR" sz="1400" kern="0" dirty="0" err="1">
                  <a:solidFill>
                    <a:schemeClr val="bg2">
                      <a:lumMod val="50000"/>
                    </a:schemeClr>
                  </a:solidFill>
                  <a:latin typeface="Trebuchet MS" panose="020B0603020202020204"/>
                </a:rPr>
                <a:t>variance</a:t>
              </a:r>
              <a:endParaRPr lang="pt-BR" sz="1400" kern="0" dirty="0">
                <a:solidFill>
                  <a:schemeClr val="bg2">
                    <a:lumMod val="50000"/>
                  </a:schemeClr>
                </a:solidFill>
                <a:latin typeface="Trebuchet MS" panose="020B0603020202020204"/>
              </a:endParaRPr>
            </a:p>
          </p:txBody>
        </p:sp>
      </p:grp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3F4C09DE-2FFC-5AEB-6E6F-842DD7E8666D}"/>
              </a:ext>
            </a:extLst>
          </p:cNvPr>
          <p:cNvGrpSpPr/>
          <p:nvPr/>
        </p:nvGrpSpPr>
        <p:grpSpPr>
          <a:xfrm>
            <a:off x="1336433" y="3434439"/>
            <a:ext cx="5801142" cy="2852133"/>
            <a:chOff x="232515" y="876389"/>
            <a:chExt cx="7515942" cy="3834263"/>
          </a:xfrm>
        </p:grpSpPr>
        <p:pic>
          <p:nvPicPr>
            <p:cNvPr id="22" name="Imagem 21">
              <a:extLst>
                <a:ext uri="{FF2B5EF4-FFF2-40B4-BE49-F238E27FC236}">
                  <a16:creationId xmlns:a16="http://schemas.microsoft.com/office/drawing/2014/main" id="{980584BE-836D-83FB-FAE1-72954530C3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" r="51658"/>
            <a:stretch/>
          </p:blipFill>
          <p:spPr>
            <a:xfrm>
              <a:off x="232515" y="876389"/>
              <a:ext cx="3625369" cy="3834263"/>
            </a:xfrm>
            <a:prstGeom prst="rect">
              <a:avLst/>
            </a:prstGeom>
          </p:spPr>
        </p:pic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5A5139BC-E61A-7F61-C0F5-EA37EC2233F8}"/>
                </a:ext>
              </a:extLst>
            </p:cNvPr>
            <p:cNvSpPr/>
            <p:nvPr/>
          </p:nvSpPr>
          <p:spPr>
            <a:xfrm>
              <a:off x="3765176" y="2635624"/>
              <a:ext cx="251012" cy="79337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>
              <a:extLst>
                <a:ext uri="{FF2B5EF4-FFF2-40B4-BE49-F238E27FC236}">
                  <a16:creationId xmlns:a16="http://schemas.microsoft.com/office/drawing/2014/main" id="{D58BFA7A-BA8A-FE31-AB70-4895E43E4909}"/>
                </a:ext>
              </a:extLst>
            </p:cNvPr>
            <p:cNvSpPr/>
            <p:nvPr/>
          </p:nvSpPr>
          <p:spPr>
            <a:xfrm>
              <a:off x="7497445" y="2414751"/>
              <a:ext cx="251012" cy="133249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pic>
        <p:nvPicPr>
          <p:cNvPr id="25" name="Imagem 24">
            <a:extLst>
              <a:ext uri="{FF2B5EF4-FFF2-40B4-BE49-F238E27FC236}">
                <a16:creationId xmlns:a16="http://schemas.microsoft.com/office/drawing/2014/main" id="{F6339579-13A5-F0C9-C5CF-7F739766FE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14105" y="3451820"/>
            <a:ext cx="2620803" cy="2844566"/>
          </a:xfrm>
          <a:prstGeom prst="rect">
            <a:avLst/>
          </a:prstGeom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id="{814F8AF0-21CE-D679-AFCB-9645FF7F91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64793" y="3389185"/>
            <a:ext cx="2647787" cy="2980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4317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2E88.V7BW4_9t08YPyU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fkNmvgJVQdJh8qeO_zR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j4PG4gtnm6vC9tn717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ywZH9gP6m4LmGyp7Ge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6JT8Hrbpb27fAJevdH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AOiYBldkG6x0iArG30q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.wRPymTbT80K_t.ilk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x8HhuZeEcHTXGHzFWCC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4wS952L7oYt1gh1fqB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aHzDM6eTc8SDkrwlpd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gdq5rSv02lHTTM2oMQ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F7Zk1Rua6nRzley370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bwzQZY1T1ZwO5Em_91TQ"/>
</p:tagLst>
</file>

<file path=ppt/theme/theme1.xml><?xml version="1.0" encoding="utf-8"?>
<a:theme xmlns:a="http://schemas.openxmlformats.org/drawingml/2006/main" name="2_Metodologia escolha de carteira">
  <a:themeElements>
    <a:clrScheme name="Personalizada 2">
      <a:dk1>
        <a:sysClr val="windowText" lastClr="000000"/>
      </a:dk1>
      <a:lt1>
        <a:sysClr val="window" lastClr="FFFFFF"/>
      </a:lt1>
      <a:dk2>
        <a:srgbClr val="FF7000"/>
      </a:dk2>
      <a:lt2>
        <a:srgbClr val="008542"/>
      </a:lt2>
      <a:accent1>
        <a:srgbClr val="00B2A9"/>
      </a:accent1>
      <a:accent2>
        <a:srgbClr val="FDC82F"/>
      </a:accent2>
      <a:accent3>
        <a:srgbClr val="006298"/>
      </a:accent3>
      <a:accent4>
        <a:srgbClr val="675C53"/>
      </a:accent4>
      <a:accent5>
        <a:srgbClr val="BCBDBC"/>
      </a:accent5>
      <a:accent6>
        <a:srgbClr val="A0B400"/>
      </a:accent6>
      <a:hlink>
        <a:srgbClr val="FF7000"/>
      </a:hlink>
      <a:folHlink>
        <a:srgbClr val="008542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etrobras">
  <a:themeElements>
    <a:clrScheme name="Petrobras">
      <a:dk1>
        <a:srgbClr val="008542"/>
      </a:dk1>
      <a:lt1>
        <a:srgbClr val="FDC82F"/>
      </a:lt1>
      <a:dk2>
        <a:srgbClr val="006298"/>
      </a:dk2>
      <a:lt2>
        <a:srgbClr val="FFFFFF"/>
      </a:lt2>
      <a:accent1>
        <a:srgbClr val="00B2A9"/>
      </a:accent1>
      <a:accent2>
        <a:srgbClr val="A8B400"/>
      </a:accent2>
      <a:accent3>
        <a:srgbClr val="FEDF00"/>
      </a:accent3>
      <a:accent4>
        <a:srgbClr val="FF7000"/>
      </a:accent4>
      <a:accent5>
        <a:srgbClr val="675C53"/>
      </a:accent5>
      <a:accent6>
        <a:srgbClr val="BCBDBC"/>
      </a:accent6>
      <a:hlink>
        <a:srgbClr val="004165"/>
      </a:hlink>
      <a:folHlink>
        <a:srgbClr val="7D9AAA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a Petrobras" id="{362C0B18-3DE0-4674-91DA-68BCB123D858}" vid="{71AA473C-51AB-4203-88B1-91D82199D5BE}"/>
    </a:ext>
  </a:extLst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C9FE235DC2DCC4C8FB664677D9809EA" ma:contentTypeVersion="12" ma:contentTypeDescription="Crie um novo documento." ma:contentTypeScope="" ma:versionID="102445099dd2bf40ab1b6013a6ea9618">
  <xsd:schema xmlns:xsd="http://www.w3.org/2001/XMLSchema" xmlns:xs="http://www.w3.org/2001/XMLSchema" xmlns:p="http://schemas.microsoft.com/office/2006/metadata/properties" xmlns:ns2="3dc77d44-a083-487b-b419-e276f73de36d" xmlns:ns3="701b1b2a-1c37-41d8-84a1-1e70058654fa" targetNamespace="http://schemas.microsoft.com/office/2006/metadata/properties" ma:root="true" ma:fieldsID="ad18089600dc4143605f75683639dd0b" ns2:_="" ns3:_="">
    <xsd:import namespace="3dc77d44-a083-487b-b419-e276f73de36d"/>
    <xsd:import namespace="701b1b2a-1c37-41d8-84a1-1e70058654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c77d44-a083-487b-b419-e276f73de3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Marcações de imagem" ma:readOnly="false" ma:fieldId="{5cf76f15-5ced-4ddc-b409-7134ff3c332f}" ma:taxonomyMulti="true" ma:sspId="d566a8fd-94ed-4d49-8999-3a54f140f05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1b1b2a-1c37-41d8-84a1-1e70058654fa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565a229f-f64d-45a0-bf68-189290c3d2cc}" ma:internalName="TaxCatchAll" ma:showField="CatchAllData" ma:web="701b1b2a-1c37-41d8-84a1-1e70058654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6F58167-9731-40AA-AE78-404D0FEA37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dc77d44-a083-487b-b419-e276f73de36d"/>
    <ds:schemaRef ds:uri="701b1b2a-1c37-41d8-84a1-1e70058654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3C25A1B-484F-4BBD-9D62-016C57AB7A7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257</TotalTime>
  <Words>424</Words>
  <Application>Microsoft Office PowerPoint</Application>
  <PresentationFormat>Widescreen</PresentationFormat>
  <Paragraphs>205</Paragraphs>
  <Slides>19</Slides>
  <Notes>19</Notes>
  <HiddenSlides>0</HiddenSlides>
  <MMClips>0</MMClips>
  <ScaleCrop>false</ScaleCrop>
  <HeadingPairs>
    <vt:vector size="8" baseType="variant">
      <vt:variant>
        <vt:lpstr>Fontes usadas</vt:lpstr>
      </vt:variant>
      <vt:variant>
        <vt:i4>9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9</vt:i4>
      </vt:variant>
    </vt:vector>
  </HeadingPairs>
  <TitlesOfParts>
    <vt:vector size="32" baseType="lpstr">
      <vt:lpstr>Arial</vt:lpstr>
      <vt:lpstr>Calibri</vt:lpstr>
      <vt:lpstr>Calibri Light</vt:lpstr>
      <vt:lpstr>Cambria Math</vt:lpstr>
      <vt:lpstr>Petrobras Sans</vt:lpstr>
      <vt:lpstr>Times New Roman</vt:lpstr>
      <vt:lpstr>Trebuchet MeS</vt:lpstr>
      <vt:lpstr>Trebuchet MS</vt:lpstr>
      <vt:lpstr>Wingdings</vt:lpstr>
      <vt:lpstr>2_Metodologia escolha de carteira</vt:lpstr>
      <vt:lpstr>1_Office Theme</vt:lpstr>
      <vt:lpstr>Petrobras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Suzanna Carreiro Calache</dc:creator>
  <cp:lastModifiedBy>Wellington Carlos</cp:lastModifiedBy>
  <cp:revision>498</cp:revision>
  <dcterms:modified xsi:type="dcterms:W3CDTF">2025-07-09T18:5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40b9f7d-8e3a-482f-9702-4b7ffc40985a_Enabled">
    <vt:lpwstr>true</vt:lpwstr>
  </property>
  <property fmtid="{D5CDD505-2E9C-101B-9397-08002B2CF9AE}" pid="3" name="MSIP_Label_140b9f7d-8e3a-482f-9702-4b7ffc40985a_SetDate">
    <vt:lpwstr>2023-10-05T00:39:51Z</vt:lpwstr>
  </property>
  <property fmtid="{D5CDD505-2E9C-101B-9397-08002B2CF9AE}" pid="4" name="MSIP_Label_140b9f7d-8e3a-482f-9702-4b7ffc40985a_Method">
    <vt:lpwstr>Privileged</vt:lpwstr>
  </property>
  <property fmtid="{D5CDD505-2E9C-101B-9397-08002B2CF9AE}" pid="5" name="MSIP_Label_140b9f7d-8e3a-482f-9702-4b7ffc40985a_Name">
    <vt:lpwstr>Pública</vt:lpwstr>
  </property>
  <property fmtid="{D5CDD505-2E9C-101B-9397-08002B2CF9AE}" pid="6" name="MSIP_Label_140b9f7d-8e3a-482f-9702-4b7ffc40985a_SiteId">
    <vt:lpwstr>5b6f6241-9a57-4be4-8e50-1dfa72e79a57</vt:lpwstr>
  </property>
  <property fmtid="{D5CDD505-2E9C-101B-9397-08002B2CF9AE}" pid="7" name="MSIP_Label_140b9f7d-8e3a-482f-9702-4b7ffc40985a_ActionId">
    <vt:lpwstr>3b37fe9f-bde6-49d8-8620-9f6018439f40</vt:lpwstr>
  </property>
  <property fmtid="{D5CDD505-2E9C-101B-9397-08002B2CF9AE}" pid="8" name="MSIP_Label_140b9f7d-8e3a-482f-9702-4b7ffc40985a_ContentBits">
    <vt:lpwstr>2</vt:lpwstr>
  </property>
  <property fmtid="{D5CDD505-2E9C-101B-9397-08002B2CF9AE}" pid="9" name="ClassificationContentMarkingFooterLocations">
    <vt:lpwstr>2_Metodologia escolha de carteira:13\1_Office Theme:9\4_Tema do Office:10\Petrobras:3</vt:lpwstr>
  </property>
  <property fmtid="{D5CDD505-2E9C-101B-9397-08002B2CF9AE}" pid="10" name="ClassificationContentMarkingFooterText">
    <vt:lpwstr>PÚBLICA</vt:lpwstr>
  </property>
</Properties>
</file>